
<file path=[Content_Types].xml><?xml version="1.0" encoding="utf-8"?>
<Types xmlns="http://schemas.openxmlformats.org/package/2006/content-types">
  <Default Extension="jpeg" ContentType="image/jpeg"/>
  <Default Extension="xlsx" ContentType="application/vnd.openxmlformats-officedocument.spreadsheetml.sheet"/>
  <Default Extension="wdp" ContentType="image/vnd.ms-photo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8"/>
  </p:notesMasterIdLst>
  <p:sldIdLst>
    <p:sldId id="256" r:id="rId3"/>
    <p:sldId id="297" r:id="rId4"/>
    <p:sldId id="276" r:id="rId5"/>
    <p:sldId id="277" r:id="rId6"/>
    <p:sldId id="278" r:id="rId7"/>
    <p:sldId id="279" r:id="rId9"/>
    <p:sldId id="299" r:id="rId10"/>
    <p:sldId id="275" r:id="rId11"/>
    <p:sldId id="280" r:id="rId12"/>
    <p:sldId id="281" r:id="rId13"/>
    <p:sldId id="288" r:id="rId14"/>
    <p:sldId id="283" r:id="rId15"/>
    <p:sldId id="284" r:id="rId16"/>
    <p:sldId id="285" r:id="rId17"/>
    <p:sldId id="286" r:id="rId18"/>
    <p:sldId id="287" r:id="rId19"/>
    <p:sldId id="289" r:id="rId20"/>
    <p:sldId id="298" r:id="rId21"/>
    <p:sldId id="290" r:id="rId22"/>
    <p:sldId id="291" r:id="rId23"/>
    <p:sldId id="292" r:id="rId24"/>
    <p:sldId id="294" r:id="rId25"/>
    <p:sldId id="293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1" d="100"/>
          <a:sy n="101" d="100"/>
        </p:scale>
        <p:origin x="138" y="354"/>
      </p:cViewPr>
      <p:guideLst>
        <p:guide orient="horz" pos="1963"/>
        <p:guide pos="3840"/>
        <p:guide pos="7567"/>
        <p:guide pos="113"/>
        <p:guide orient="horz" pos="120"/>
        <p:guide orient="horz" pos="4004"/>
        <p:guide orient="horz" pos="5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.3</c:v>
                </c:pt>
                <c:pt idx="1">
                  <c:v>3.5</c:v>
                </c:pt>
                <c:pt idx="2">
                  <c:v>4.5</c:v>
                </c:pt>
                <c:pt idx="3">
                  <c:v>4.5</c:v>
                </c:pt>
                <c:pt idx="4">
                  <c:v>5.3</c:v>
                </c:pt>
                <c:pt idx="5">
                  <c:v>2.5</c:v>
                </c:pt>
                <c:pt idx="6">
                  <c:v>3.5</c:v>
                </c:pt>
                <c:pt idx="7">
                  <c:v>4.5</c:v>
                </c:pt>
                <c:pt idx="8">
                  <c:v>4.3</c:v>
                </c:pt>
                <c:pt idx="9">
                  <c:v>2.5</c:v>
                </c:pt>
                <c:pt idx="10">
                  <c:v>3.5</c:v>
                </c:pt>
                <c:pt idx="11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  <c:pt idx="4">
                  <c:v>2.4</c:v>
                </c:pt>
                <c:pt idx="5">
                  <c:v>4.4</c:v>
                </c:pt>
                <c:pt idx="6">
                  <c:v>1.8</c:v>
                </c:pt>
                <c:pt idx="7">
                  <c:v>2.8</c:v>
                </c:pt>
                <c:pt idx="8">
                  <c:v>3.4</c:v>
                </c:pt>
                <c:pt idx="9">
                  <c:v>5.4</c:v>
                </c:pt>
                <c:pt idx="10">
                  <c:v>2.8</c:v>
                </c:pt>
                <c:pt idx="11">
                  <c:v>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5"/>
        <c:overlap val="100"/>
        <c:axId val="361279976"/>
        <c:axId val="361280368"/>
      </c:barChart>
      <c:catAx>
        <c:axId val="361279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361280368"/>
        <c:crosses val="autoZero"/>
        <c:auto val="1"/>
        <c:lblAlgn val="ctr"/>
        <c:lblOffset val="100"/>
        <c:noMultiLvlLbl val="0"/>
      </c:catAx>
      <c:valAx>
        <c:axId val="36128036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361279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9050">
              <a:noFill/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5</c:v>
                </c:pt>
                <c:pt idx="1">
                  <c:v>0.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42BC8-E9A0-4BE5-B74B-BEA244C7C51C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F4C00B-3BC1-4A84-BA65-51F1D4FC68B8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7.png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2.wdp"/><Relationship Id="rId3" Type="http://schemas.openxmlformats.org/officeDocument/2006/relationships/image" Target="../media/image4.png"/><Relationship Id="rId2" Type="http://schemas.microsoft.com/office/2007/relationships/hdphoto" Target="../media/hdphoto1.wdp"/><Relationship Id="rId1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.xml"/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rcRect t="7128"/>
          <a:stretch>
            <a:fillRect/>
          </a:stretch>
        </p:blipFill>
        <p:spPr>
          <a:xfrm>
            <a:off x="-635" y="1270"/>
            <a:ext cx="12192000" cy="68548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635" y="1270"/>
            <a:ext cx="12192000" cy="6858000"/>
          </a:xfrm>
          <a:prstGeom prst="rect">
            <a:avLst/>
          </a:prstGeom>
          <a:solidFill>
            <a:schemeClr val="tx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3915410"/>
            <a:ext cx="12192000" cy="29425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grayscl/>
            <a:lum bright="10000" contrast="-24000"/>
          </a:blip>
          <a:srcRect r="25569"/>
          <a:stretch>
            <a:fillRect/>
          </a:stretch>
        </p:blipFill>
        <p:spPr>
          <a:xfrm>
            <a:off x="4601845" y="2533015"/>
            <a:ext cx="2988945" cy="965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grayscl/>
            <a:lum bright="100000"/>
          </a:blip>
          <a:srcRect l="14232" r="25569"/>
          <a:stretch>
            <a:fillRect/>
          </a:stretch>
        </p:blipFill>
        <p:spPr>
          <a:xfrm>
            <a:off x="5172075" y="2533015"/>
            <a:ext cx="2417445" cy="965200"/>
          </a:xfrm>
          <a:prstGeom prst="rect">
            <a:avLst/>
          </a:prstGeom>
        </p:spPr>
      </p:pic>
      <p:sp>
        <p:nvSpPr>
          <p:cNvPr id="11" name="Text Box 10"/>
          <p:cNvSpPr txBox="1"/>
          <p:nvPr/>
        </p:nvSpPr>
        <p:spPr>
          <a:xfrm>
            <a:off x="3572510" y="4622165"/>
            <a:ext cx="5048250" cy="11068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en-US" b="1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System Deployment and Benchmarking</a:t>
            </a:r>
            <a:endParaRPr lang="en-US" altLang="en-US" b="1">
              <a:solidFill>
                <a:schemeClr val="bg1"/>
              </a:solidFill>
              <a:latin typeface="+mj-lt"/>
              <a:ea typeface="Ubuntu" panose="020B0604030602030204" charset="0"/>
              <a:cs typeface="+mj-lt"/>
            </a:endParaRPr>
          </a:p>
          <a:p>
            <a:pPr algn="ctr"/>
            <a:r>
              <a:rPr lang="en-US" altLang="en-US" sz="1600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Daniel Fernandes, A78377</a:t>
            </a:r>
            <a:endParaRPr lang="en-US" altLang="en-US" sz="1600">
              <a:solidFill>
                <a:schemeClr val="bg1"/>
              </a:solidFill>
              <a:latin typeface="+mj-lt"/>
              <a:ea typeface="Ubuntu" panose="020B0604030602030204" charset="0"/>
              <a:cs typeface="+mj-lt"/>
            </a:endParaRPr>
          </a:p>
          <a:p>
            <a:pPr algn="ctr"/>
            <a:r>
              <a:rPr lang="en-US" altLang="en-US" sz="1600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Maria Helena Poleri, A78633</a:t>
            </a:r>
            <a:endParaRPr lang="en-US" altLang="en-US" sz="1600">
              <a:solidFill>
                <a:schemeClr val="bg1"/>
              </a:solidFill>
              <a:latin typeface="+mj-lt"/>
              <a:ea typeface="Ubuntu" panose="020B0604030602030204" charset="0"/>
              <a:cs typeface="+mj-lt"/>
            </a:endParaRPr>
          </a:p>
          <a:p>
            <a:pPr algn="ctr"/>
            <a:r>
              <a:rPr lang="en-US" altLang="en-US" sz="1600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Mariana Miranda, A77782</a:t>
            </a:r>
            <a:r>
              <a:rPr lang="en-US" altLang="en-US" sz="1600">
                <a:latin typeface="+mj-lt"/>
                <a:ea typeface="Ubuntu" panose="020B0604030602030204" charset="0"/>
                <a:cs typeface="+mj-lt"/>
              </a:rPr>
              <a:t> </a:t>
            </a:r>
            <a:endParaRPr lang="en-US" altLang="en-US" sz="1600">
              <a:latin typeface="+mj-lt"/>
              <a:ea typeface="Ubuntu" panose="020B0604030602030204" charset="0"/>
              <a:cs typeface="+mj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What Sort of Services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" y="1565867"/>
            <a:ext cx="12192000" cy="40182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3998686" y="2052735"/>
            <a:ext cx="0" cy="2844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8193314" y="2052735"/>
            <a:ext cx="0" cy="2844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/>
          <p:cNvSpPr/>
          <p:nvPr/>
        </p:nvSpPr>
        <p:spPr>
          <a:xfrm rot="2700000">
            <a:off x="1491318" y="1934331"/>
            <a:ext cx="820109" cy="82010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/>
          <p:cNvSpPr/>
          <p:nvPr/>
        </p:nvSpPr>
        <p:spPr>
          <a:xfrm rot="2700000">
            <a:off x="5685946" y="1934331"/>
            <a:ext cx="820109" cy="82010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/>
          <p:cNvSpPr/>
          <p:nvPr/>
        </p:nvSpPr>
        <p:spPr>
          <a:xfrm rot="2700000">
            <a:off x="9880574" y="1934331"/>
            <a:ext cx="820109" cy="82010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15407" y="3112222"/>
            <a:ext cx="2571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LOREM IPSUM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5408" y="3564155"/>
            <a:ext cx="2571921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810035" y="3112222"/>
            <a:ext cx="2571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LOREM IPSUM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810040" y="3564155"/>
            <a:ext cx="2571921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004664" y="3112222"/>
            <a:ext cx="2571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LOREM IPSUM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004669" y="3564155"/>
            <a:ext cx="2571921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954712" y="2202304"/>
            <a:ext cx="282576" cy="284163"/>
            <a:chOff x="3746500" y="3090863"/>
            <a:chExt cx="282576" cy="284163"/>
          </a:xfrm>
          <a:solidFill>
            <a:schemeClr val="bg1"/>
          </a:solidFill>
        </p:grpSpPr>
        <p:sp>
          <p:nvSpPr>
            <p:cNvPr id="24" name="Freeform 977"/>
            <p:cNvSpPr/>
            <p:nvPr/>
          </p:nvSpPr>
          <p:spPr bwMode="auto">
            <a:xfrm>
              <a:off x="3900488" y="3260725"/>
              <a:ext cx="96838" cy="93663"/>
            </a:xfrm>
            <a:custGeom>
              <a:avLst/>
              <a:gdLst>
                <a:gd name="T0" fmla="*/ 116 w 245"/>
                <a:gd name="T1" fmla="*/ 35 h 240"/>
                <a:gd name="T2" fmla="*/ 0 w 245"/>
                <a:gd name="T3" fmla="*/ 151 h 240"/>
                <a:gd name="T4" fmla="*/ 98 w 245"/>
                <a:gd name="T5" fmla="*/ 240 h 240"/>
                <a:gd name="T6" fmla="*/ 245 w 245"/>
                <a:gd name="T7" fmla="*/ 92 h 240"/>
                <a:gd name="T8" fmla="*/ 152 w 245"/>
                <a:gd name="T9" fmla="*/ 0 h 240"/>
                <a:gd name="T10" fmla="*/ 116 w 245"/>
                <a:gd name="T11" fmla="*/ 3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240">
                  <a:moveTo>
                    <a:pt x="116" y="35"/>
                  </a:moveTo>
                  <a:lnTo>
                    <a:pt x="0" y="151"/>
                  </a:lnTo>
                  <a:lnTo>
                    <a:pt x="98" y="240"/>
                  </a:lnTo>
                  <a:lnTo>
                    <a:pt x="245" y="92"/>
                  </a:lnTo>
                  <a:lnTo>
                    <a:pt x="152" y="0"/>
                  </a:lnTo>
                  <a:lnTo>
                    <a:pt x="11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5" name="Freeform 978"/>
            <p:cNvSpPr>
              <a:spLocks noEditPoints="1"/>
            </p:cNvSpPr>
            <p:nvPr/>
          </p:nvSpPr>
          <p:spPr bwMode="auto">
            <a:xfrm>
              <a:off x="3746500" y="3090863"/>
              <a:ext cx="200025" cy="257175"/>
            </a:xfrm>
            <a:custGeom>
              <a:avLst/>
              <a:gdLst>
                <a:gd name="T0" fmla="*/ 349 w 506"/>
                <a:gd name="T1" fmla="*/ 12 h 651"/>
                <a:gd name="T2" fmla="*/ 494 w 506"/>
                <a:gd name="T3" fmla="*/ 157 h 651"/>
                <a:gd name="T4" fmla="*/ 349 w 506"/>
                <a:gd name="T5" fmla="*/ 157 h 651"/>
                <a:gd name="T6" fmla="*/ 349 w 506"/>
                <a:gd name="T7" fmla="*/ 12 h 651"/>
                <a:gd name="T8" fmla="*/ 363 w 506"/>
                <a:gd name="T9" fmla="*/ 571 h 651"/>
                <a:gd name="T10" fmla="*/ 365 w 506"/>
                <a:gd name="T11" fmla="*/ 569 h 651"/>
                <a:gd name="T12" fmla="*/ 367 w 506"/>
                <a:gd name="T13" fmla="*/ 568 h 651"/>
                <a:gd name="T14" fmla="*/ 506 w 506"/>
                <a:gd name="T15" fmla="*/ 429 h 651"/>
                <a:gd name="T16" fmla="*/ 506 w 506"/>
                <a:gd name="T17" fmla="*/ 157 h 651"/>
                <a:gd name="T18" fmla="*/ 505 w 506"/>
                <a:gd name="T19" fmla="*/ 153 h 651"/>
                <a:gd name="T20" fmla="*/ 502 w 506"/>
                <a:gd name="T21" fmla="*/ 149 h 651"/>
                <a:gd name="T22" fmla="*/ 358 w 506"/>
                <a:gd name="T23" fmla="*/ 4 h 651"/>
                <a:gd name="T24" fmla="*/ 354 w 506"/>
                <a:gd name="T25" fmla="*/ 1 h 651"/>
                <a:gd name="T26" fmla="*/ 349 w 506"/>
                <a:gd name="T27" fmla="*/ 0 h 651"/>
                <a:gd name="T28" fmla="*/ 13 w 506"/>
                <a:gd name="T29" fmla="*/ 0 h 651"/>
                <a:gd name="T30" fmla="*/ 8 w 506"/>
                <a:gd name="T31" fmla="*/ 1 h 651"/>
                <a:gd name="T32" fmla="*/ 3 w 506"/>
                <a:gd name="T33" fmla="*/ 4 h 651"/>
                <a:gd name="T34" fmla="*/ 1 w 506"/>
                <a:gd name="T35" fmla="*/ 8 h 651"/>
                <a:gd name="T36" fmla="*/ 0 w 506"/>
                <a:gd name="T37" fmla="*/ 12 h 651"/>
                <a:gd name="T38" fmla="*/ 0 w 506"/>
                <a:gd name="T39" fmla="*/ 638 h 651"/>
                <a:gd name="T40" fmla="*/ 1 w 506"/>
                <a:gd name="T41" fmla="*/ 644 h 651"/>
                <a:gd name="T42" fmla="*/ 3 w 506"/>
                <a:gd name="T43" fmla="*/ 648 h 651"/>
                <a:gd name="T44" fmla="*/ 8 w 506"/>
                <a:gd name="T45" fmla="*/ 650 h 651"/>
                <a:gd name="T46" fmla="*/ 13 w 506"/>
                <a:gd name="T47" fmla="*/ 651 h 651"/>
                <a:gd name="T48" fmla="*/ 339 w 506"/>
                <a:gd name="T49" fmla="*/ 651 h 651"/>
                <a:gd name="T50" fmla="*/ 360 w 506"/>
                <a:gd name="T51" fmla="*/ 578 h 651"/>
                <a:gd name="T52" fmla="*/ 361 w 506"/>
                <a:gd name="T53" fmla="*/ 574 h 651"/>
                <a:gd name="T54" fmla="*/ 363 w 506"/>
                <a:gd name="T55" fmla="*/ 57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6" h="651">
                  <a:moveTo>
                    <a:pt x="349" y="12"/>
                  </a:moveTo>
                  <a:lnTo>
                    <a:pt x="494" y="157"/>
                  </a:lnTo>
                  <a:lnTo>
                    <a:pt x="349" y="157"/>
                  </a:lnTo>
                  <a:lnTo>
                    <a:pt x="349" y="12"/>
                  </a:lnTo>
                  <a:close/>
                  <a:moveTo>
                    <a:pt x="363" y="571"/>
                  </a:moveTo>
                  <a:lnTo>
                    <a:pt x="365" y="569"/>
                  </a:lnTo>
                  <a:lnTo>
                    <a:pt x="367" y="568"/>
                  </a:lnTo>
                  <a:lnTo>
                    <a:pt x="506" y="429"/>
                  </a:lnTo>
                  <a:lnTo>
                    <a:pt x="506" y="157"/>
                  </a:lnTo>
                  <a:lnTo>
                    <a:pt x="505" y="153"/>
                  </a:lnTo>
                  <a:lnTo>
                    <a:pt x="502" y="149"/>
                  </a:lnTo>
                  <a:lnTo>
                    <a:pt x="358" y="4"/>
                  </a:lnTo>
                  <a:lnTo>
                    <a:pt x="354" y="1"/>
                  </a:lnTo>
                  <a:lnTo>
                    <a:pt x="349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38"/>
                  </a:lnTo>
                  <a:lnTo>
                    <a:pt x="1" y="644"/>
                  </a:lnTo>
                  <a:lnTo>
                    <a:pt x="3" y="648"/>
                  </a:lnTo>
                  <a:lnTo>
                    <a:pt x="8" y="650"/>
                  </a:lnTo>
                  <a:lnTo>
                    <a:pt x="13" y="651"/>
                  </a:lnTo>
                  <a:lnTo>
                    <a:pt x="339" y="651"/>
                  </a:lnTo>
                  <a:lnTo>
                    <a:pt x="360" y="578"/>
                  </a:lnTo>
                  <a:lnTo>
                    <a:pt x="361" y="574"/>
                  </a:lnTo>
                  <a:lnTo>
                    <a:pt x="363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6" name="Freeform 979"/>
            <p:cNvSpPr/>
            <p:nvPr/>
          </p:nvSpPr>
          <p:spPr bwMode="auto">
            <a:xfrm>
              <a:off x="3883025" y="3328988"/>
              <a:ext cx="49213" cy="46038"/>
            </a:xfrm>
            <a:custGeom>
              <a:avLst/>
              <a:gdLst>
                <a:gd name="T0" fmla="*/ 18 w 122"/>
                <a:gd name="T1" fmla="*/ 49 h 115"/>
                <a:gd name="T2" fmla="*/ 0 w 122"/>
                <a:gd name="T3" fmla="*/ 115 h 115"/>
                <a:gd name="T4" fmla="*/ 122 w 122"/>
                <a:gd name="T5" fmla="*/ 80 h 115"/>
                <a:gd name="T6" fmla="*/ 33 w 122"/>
                <a:gd name="T7" fmla="*/ 0 h 115"/>
                <a:gd name="T8" fmla="*/ 18 w 122"/>
                <a:gd name="T9" fmla="*/ 4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15">
                  <a:moveTo>
                    <a:pt x="18" y="49"/>
                  </a:moveTo>
                  <a:lnTo>
                    <a:pt x="0" y="115"/>
                  </a:lnTo>
                  <a:lnTo>
                    <a:pt x="122" y="80"/>
                  </a:lnTo>
                  <a:lnTo>
                    <a:pt x="33" y="0"/>
                  </a:lnTo>
                  <a:lnTo>
                    <a:pt x="1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" name="Freeform 980"/>
            <p:cNvSpPr/>
            <p:nvPr/>
          </p:nvSpPr>
          <p:spPr bwMode="auto">
            <a:xfrm>
              <a:off x="3967163" y="3228975"/>
              <a:ext cx="61913" cy="60325"/>
            </a:xfrm>
            <a:custGeom>
              <a:avLst/>
              <a:gdLst>
                <a:gd name="T0" fmla="*/ 63 w 156"/>
                <a:gd name="T1" fmla="*/ 0 h 155"/>
                <a:gd name="T2" fmla="*/ 0 w 156"/>
                <a:gd name="T3" fmla="*/ 62 h 155"/>
                <a:gd name="T4" fmla="*/ 93 w 156"/>
                <a:gd name="T5" fmla="*/ 155 h 155"/>
                <a:gd name="T6" fmla="*/ 156 w 156"/>
                <a:gd name="T7" fmla="*/ 93 h 155"/>
                <a:gd name="T8" fmla="*/ 63 w 156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55">
                  <a:moveTo>
                    <a:pt x="63" y="0"/>
                  </a:moveTo>
                  <a:lnTo>
                    <a:pt x="0" y="62"/>
                  </a:lnTo>
                  <a:lnTo>
                    <a:pt x="93" y="155"/>
                  </a:lnTo>
                  <a:lnTo>
                    <a:pt x="156" y="9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758497" y="2201510"/>
            <a:ext cx="285751" cy="285751"/>
            <a:chOff x="1460463" y="779462"/>
            <a:chExt cx="285751" cy="285751"/>
          </a:xfrm>
          <a:solidFill>
            <a:schemeClr val="bg1"/>
          </a:solidFill>
        </p:grpSpPr>
        <p:sp>
          <p:nvSpPr>
            <p:cNvPr id="29" name="Freeform 2989"/>
            <p:cNvSpPr/>
            <p:nvPr/>
          </p:nvSpPr>
          <p:spPr bwMode="auto">
            <a:xfrm>
              <a:off x="1643026" y="938212"/>
              <a:ext cx="46038" cy="46038"/>
            </a:xfrm>
            <a:custGeom>
              <a:avLst/>
              <a:gdLst>
                <a:gd name="T0" fmla="*/ 58 w 115"/>
                <a:gd name="T1" fmla="*/ 0 h 116"/>
                <a:gd name="T2" fmla="*/ 46 w 115"/>
                <a:gd name="T3" fmla="*/ 2 h 116"/>
                <a:gd name="T4" fmla="*/ 35 w 115"/>
                <a:gd name="T5" fmla="*/ 5 h 116"/>
                <a:gd name="T6" fmla="*/ 26 w 115"/>
                <a:gd name="T7" fmla="*/ 10 h 116"/>
                <a:gd name="T8" fmla="*/ 18 w 115"/>
                <a:gd name="T9" fmla="*/ 17 h 116"/>
                <a:gd name="T10" fmla="*/ 10 w 115"/>
                <a:gd name="T11" fmla="*/ 27 h 116"/>
                <a:gd name="T12" fmla="*/ 5 w 115"/>
                <a:gd name="T13" fmla="*/ 36 h 116"/>
                <a:gd name="T14" fmla="*/ 1 w 115"/>
                <a:gd name="T15" fmla="*/ 47 h 116"/>
                <a:gd name="T16" fmla="*/ 0 w 115"/>
                <a:gd name="T17" fmla="*/ 59 h 116"/>
                <a:gd name="T18" fmla="*/ 1 w 115"/>
                <a:gd name="T19" fmla="*/ 69 h 116"/>
                <a:gd name="T20" fmla="*/ 5 w 115"/>
                <a:gd name="T21" fmla="*/ 80 h 116"/>
                <a:gd name="T22" fmla="*/ 10 w 115"/>
                <a:gd name="T23" fmla="*/ 91 h 116"/>
                <a:gd name="T24" fmla="*/ 18 w 115"/>
                <a:gd name="T25" fmla="*/ 99 h 116"/>
                <a:gd name="T26" fmla="*/ 26 w 115"/>
                <a:gd name="T27" fmla="*/ 106 h 116"/>
                <a:gd name="T28" fmla="*/ 35 w 115"/>
                <a:gd name="T29" fmla="*/ 111 h 116"/>
                <a:gd name="T30" fmla="*/ 46 w 115"/>
                <a:gd name="T31" fmla="*/ 115 h 116"/>
                <a:gd name="T32" fmla="*/ 58 w 115"/>
                <a:gd name="T33" fmla="*/ 116 h 116"/>
                <a:gd name="T34" fmla="*/ 69 w 115"/>
                <a:gd name="T35" fmla="*/ 115 h 116"/>
                <a:gd name="T36" fmla="*/ 81 w 115"/>
                <a:gd name="T37" fmla="*/ 111 h 116"/>
                <a:gd name="T38" fmla="*/ 90 w 115"/>
                <a:gd name="T39" fmla="*/ 106 h 116"/>
                <a:gd name="T40" fmla="*/ 98 w 115"/>
                <a:gd name="T41" fmla="*/ 99 h 116"/>
                <a:gd name="T42" fmla="*/ 106 w 115"/>
                <a:gd name="T43" fmla="*/ 91 h 116"/>
                <a:gd name="T44" fmla="*/ 110 w 115"/>
                <a:gd name="T45" fmla="*/ 80 h 116"/>
                <a:gd name="T46" fmla="*/ 114 w 115"/>
                <a:gd name="T47" fmla="*/ 69 h 116"/>
                <a:gd name="T48" fmla="*/ 115 w 115"/>
                <a:gd name="T49" fmla="*/ 59 h 116"/>
                <a:gd name="T50" fmla="*/ 114 w 115"/>
                <a:gd name="T51" fmla="*/ 47 h 116"/>
                <a:gd name="T52" fmla="*/ 110 w 115"/>
                <a:gd name="T53" fmla="*/ 36 h 116"/>
                <a:gd name="T54" fmla="*/ 106 w 115"/>
                <a:gd name="T55" fmla="*/ 27 h 116"/>
                <a:gd name="T56" fmla="*/ 98 w 115"/>
                <a:gd name="T57" fmla="*/ 17 h 116"/>
                <a:gd name="T58" fmla="*/ 90 w 115"/>
                <a:gd name="T59" fmla="*/ 10 h 116"/>
                <a:gd name="T60" fmla="*/ 81 w 115"/>
                <a:gd name="T61" fmla="*/ 5 h 116"/>
                <a:gd name="T62" fmla="*/ 69 w 115"/>
                <a:gd name="T63" fmla="*/ 2 h 116"/>
                <a:gd name="T64" fmla="*/ 58 w 115"/>
                <a:gd name="T6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116">
                  <a:moveTo>
                    <a:pt x="58" y="0"/>
                  </a:moveTo>
                  <a:lnTo>
                    <a:pt x="46" y="2"/>
                  </a:lnTo>
                  <a:lnTo>
                    <a:pt x="35" y="5"/>
                  </a:lnTo>
                  <a:lnTo>
                    <a:pt x="26" y="10"/>
                  </a:lnTo>
                  <a:lnTo>
                    <a:pt x="18" y="17"/>
                  </a:lnTo>
                  <a:lnTo>
                    <a:pt x="10" y="27"/>
                  </a:lnTo>
                  <a:lnTo>
                    <a:pt x="5" y="36"/>
                  </a:lnTo>
                  <a:lnTo>
                    <a:pt x="1" y="47"/>
                  </a:lnTo>
                  <a:lnTo>
                    <a:pt x="0" y="59"/>
                  </a:lnTo>
                  <a:lnTo>
                    <a:pt x="1" y="69"/>
                  </a:lnTo>
                  <a:lnTo>
                    <a:pt x="5" y="80"/>
                  </a:lnTo>
                  <a:lnTo>
                    <a:pt x="10" y="91"/>
                  </a:lnTo>
                  <a:lnTo>
                    <a:pt x="18" y="99"/>
                  </a:lnTo>
                  <a:lnTo>
                    <a:pt x="26" y="106"/>
                  </a:lnTo>
                  <a:lnTo>
                    <a:pt x="35" y="111"/>
                  </a:lnTo>
                  <a:lnTo>
                    <a:pt x="46" y="115"/>
                  </a:lnTo>
                  <a:lnTo>
                    <a:pt x="58" y="116"/>
                  </a:lnTo>
                  <a:lnTo>
                    <a:pt x="69" y="115"/>
                  </a:lnTo>
                  <a:lnTo>
                    <a:pt x="81" y="111"/>
                  </a:lnTo>
                  <a:lnTo>
                    <a:pt x="90" y="106"/>
                  </a:lnTo>
                  <a:lnTo>
                    <a:pt x="98" y="99"/>
                  </a:lnTo>
                  <a:lnTo>
                    <a:pt x="106" y="91"/>
                  </a:lnTo>
                  <a:lnTo>
                    <a:pt x="110" y="80"/>
                  </a:lnTo>
                  <a:lnTo>
                    <a:pt x="114" y="69"/>
                  </a:lnTo>
                  <a:lnTo>
                    <a:pt x="115" y="59"/>
                  </a:lnTo>
                  <a:lnTo>
                    <a:pt x="114" y="47"/>
                  </a:lnTo>
                  <a:lnTo>
                    <a:pt x="110" y="36"/>
                  </a:lnTo>
                  <a:lnTo>
                    <a:pt x="106" y="27"/>
                  </a:lnTo>
                  <a:lnTo>
                    <a:pt x="98" y="17"/>
                  </a:lnTo>
                  <a:lnTo>
                    <a:pt x="90" y="10"/>
                  </a:lnTo>
                  <a:lnTo>
                    <a:pt x="81" y="5"/>
                  </a:lnTo>
                  <a:lnTo>
                    <a:pt x="69" y="2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0" name="Freeform 2990"/>
            <p:cNvSpPr/>
            <p:nvPr/>
          </p:nvSpPr>
          <p:spPr bwMode="auto">
            <a:xfrm>
              <a:off x="1609688" y="965200"/>
              <a:ext cx="23813" cy="23813"/>
            </a:xfrm>
            <a:custGeom>
              <a:avLst/>
              <a:gdLst>
                <a:gd name="T0" fmla="*/ 61 w 61"/>
                <a:gd name="T1" fmla="*/ 29 h 60"/>
                <a:gd name="T2" fmla="*/ 60 w 61"/>
                <a:gd name="T3" fmla="*/ 24 h 60"/>
                <a:gd name="T4" fmla="*/ 58 w 61"/>
                <a:gd name="T5" fmla="*/ 18 h 60"/>
                <a:gd name="T6" fmla="*/ 56 w 61"/>
                <a:gd name="T7" fmla="*/ 13 h 60"/>
                <a:gd name="T8" fmla="*/ 51 w 61"/>
                <a:gd name="T9" fmla="*/ 8 h 60"/>
                <a:gd name="T10" fmla="*/ 48 w 61"/>
                <a:gd name="T11" fmla="*/ 5 h 60"/>
                <a:gd name="T12" fmla="*/ 42 w 61"/>
                <a:gd name="T13" fmla="*/ 2 h 60"/>
                <a:gd name="T14" fmla="*/ 37 w 61"/>
                <a:gd name="T15" fmla="*/ 1 h 60"/>
                <a:gd name="T16" fmla="*/ 30 w 61"/>
                <a:gd name="T17" fmla="*/ 0 h 60"/>
                <a:gd name="T18" fmla="*/ 24 w 61"/>
                <a:gd name="T19" fmla="*/ 1 h 60"/>
                <a:gd name="T20" fmla="*/ 19 w 61"/>
                <a:gd name="T21" fmla="*/ 2 h 60"/>
                <a:gd name="T22" fmla="*/ 13 w 61"/>
                <a:gd name="T23" fmla="*/ 5 h 60"/>
                <a:gd name="T24" fmla="*/ 10 w 61"/>
                <a:gd name="T25" fmla="*/ 8 h 60"/>
                <a:gd name="T26" fmla="*/ 5 w 61"/>
                <a:gd name="T27" fmla="*/ 13 h 60"/>
                <a:gd name="T28" fmla="*/ 2 w 61"/>
                <a:gd name="T29" fmla="*/ 18 h 60"/>
                <a:gd name="T30" fmla="*/ 1 w 61"/>
                <a:gd name="T31" fmla="*/ 24 h 60"/>
                <a:gd name="T32" fmla="*/ 0 w 61"/>
                <a:gd name="T33" fmla="*/ 29 h 60"/>
                <a:gd name="T34" fmla="*/ 1 w 61"/>
                <a:gd name="T35" fmla="*/ 35 h 60"/>
                <a:gd name="T36" fmla="*/ 2 w 61"/>
                <a:gd name="T37" fmla="*/ 41 h 60"/>
                <a:gd name="T38" fmla="*/ 5 w 61"/>
                <a:gd name="T39" fmla="*/ 47 h 60"/>
                <a:gd name="T40" fmla="*/ 10 w 61"/>
                <a:gd name="T41" fmla="*/ 51 h 60"/>
                <a:gd name="T42" fmla="*/ 13 w 61"/>
                <a:gd name="T43" fmla="*/ 54 h 60"/>
                <a:gd name="T44" fmla="*/ 19 w 61"/>
                <a:gd name="T45" fmla="*/ 58 h 60"/>
                <a:gd name="T46" fmla="*/ 24 w 61"/>
                <a:gd name="T47" fmla="*/ 59 h 60"/>
                <a:gd name="T48" fmla="*/ 30 w 61"/>
                <a:gd name="T49" fmla="*/ 60 h 60"/>
                <a:gd name="T50" fmla="*/ 37 w 61"/>
                <a:gd name="T51" fmla="*/ 59 h 60"/>
                <a:gd name="T52" fmla="*/ 42 w 61"/>
                <a:gd name="T53" fmla="*/ 58 h 60"/>
                <a:gd name="T54" fmla="*/ 48 w 61"/>
                <a:gd name="T55" fmla="*/ 54 h 60"/>
                <a:gd name="T56" fmla="*/ 51 w 61"/>
                <a:gd name="T57" fmla="*/ 51 h 60"/>
                <a:gd name="T58" fmla="*/ 56 w 61"/>
                <a:gd name="T59" fmla="*/ 47 h 60"/>
                <a:gd name="T60" fmla="*/ 58 w 61"/>
                <a:gd name="T61" fmla="*/ 41 h 60"/>
                <a:gd name="T62" fmla="*/ 60 w 61"/>
                <a:gd name="T63" fmla="*/ 35 h 60"/>
                <a:gd name="T64" fmla="*/ 61 w 61"/>
                <a:gd name="T65" fmla="*/ 29 h 60"/>
                <a:gd name="T66" fmla="*/ 61 w 61"/>
                <a:gd name="T6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60">
                  <a:moveTo>
                    <a:pt x="61" y="29"/>
                  </a:move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8"/>
                  </a:lnTo>
                  <a:lnTo>
                    <a:pt x="48" y="5"/>
                  </a:lnTo>
                  <a:lnTo>
                    <a:pt x="42" y="2"/>
                  </a:lnTo>
                  <a:lnTo>
                    <a:pt x="37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10" y="8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10" y="51"/>
                  </a:lnTo>
                  <a:lnTo>
                    <a:pt x="13" y="54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7" y="59"/>
                  </a:lnTo>
                  <a:lnTo>
                    <a:pt x="42" y="58"/>
                  </a:lnTo>
                  <a:lnTo>
                    <a:pt x="48" y="54"/>
                  </a:lnTo>
                  <a:lnTo>
                    <a:pt x="51" y="51"/>
                  </a:lnTo>
                  <a:lnTo>
                    <a:pt x="56" y="47"/>
                  </a:lnTo>
                  <a:lnTo>
                    <a:pt x="58" y="41"/>
                  </a:lnTo>
                  <a:lnTo>
                    <a:pt x="60" y="35"/>
                  </a:lnTo>
                  <a:lnTo>
                    <a:pt x="61" y="29"/>
                  </a:lnTo>
                  <a:lnTo>
                    <a:pt x="6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" name="Freeform 2991"/>
            <p:cNvSpPr>
              <a:spLocks noEditPoints="1"/>
            </p:cNvSpPr>
            <p:nvPr/>
          </p:nvSpPr>
          <p:spPr bwMode="auto">
            <a:xfrm>
              <a:off x="1557301" y="779462"/>
              <a:ext cx="188913" cy="147638"/>
            </a:xfrm>
            <a:custGeom>
              <a:avLst/>
              <a:gdLst>
                <a:gd name="T0" fmla="*/ 326 w 476"/>
                <a:gd name="T1" fmla="*/ 203 h 371"/>
                <a:gd name="T2" fmla="*/ 313 w 476"/>
                <a:gd name="T3" fmla="*/ 184 h 371"/>
                <a:gd name="T4" fmla="*/ 318 w 476"/>
                <a:gd name="T5" fmla="*/ 161 h 371"/>
                <a:gd name="T6" fmla="*/ 337 w 476"/>
                <a:gd name="T7" fmla="*/ 148 h 371"/>
                <a:gd name="T8" fmla="*/ 359 w 476"/>
                <a:gd name="T9" fmla="*/ 153 h 371"/>
                <a:gd name="T10" fmla="*/ 373 w 476"/>
                <a:gd name="T11" fmla="*/ 172 h 371"/>
                <a:gd name="T12" fmla="*/ 368 w 476"/>
                <a:gd name="T13" fmla="*/ 195 h 371"/>
                <a:gd name="T14" fmla="*/ 349 w 476"/>
                <a:gd name="T15" fmla="*/ 208 h 371"/>
                <a:gd name="T16" fmla="*/ 241 w 476"/>
                <a:gd name="T17" fmla="*/ 205 h 371"/>
                <a:gd name="T18" fmla="*/ 224 w 476"/>
                <a:gd name="T19" fmla="*/ 190 h 371"/>
                <a:gd name="T20" fmla="*/ 224 w 476"/>
                <a:gd name="T21" fmla="*/ 166 h 371"/>
                <a:gd name="T22" fmla="*/ 241 w 476"/>
                <a:gd name="T23" fmla="*/ 150 h 371"/>
                <a:gd name="T24" fmla="*/ 264 w 476"/>
                <a:gd name="T25" fmla="*/ 150 h 371"/>
                <a:gd name="T26" fmla="*/ 280 w 476"/>
                <a:gd name="T27" fmla="*/ 166 h 371"/>
                <a:gd name="T28" fmla="*/ 280 w 476"/>
                <a:gd name="T29" fmla="*/ 190 h 371"/>
                <a:gd name="T30" fmla="*/ 264 w 476"/>
                <a:gd name="T31" fmla="*/ 205 h 371"/>
                <a:gd name="T32" fmla="*/ 155 w 476"/>
                <a:gd name="T33" fmla="*/ 208 h 371"/>
                <a:gd name="T34" fmla="*/ 136 w 476"/>
                <a:gd name="T35" fmla="*/ 195 h 371"/>
                <a:gd name="T36" fmla="*/ 132 w 476"/>
                <a:gd name="T37" fmla="*/ 172 h 371"/>
                <a:gd name="T38" fmla="*/ 144 w 476"/>
                <a:gd name="T39" fmla="*/ 153 h 371"/>
                <a:gd name="T40" fmla="*/ 168 w 476"/>
                <a:gd name="T41" fmla="*/ 148 h 371"/>
                <a:gd name="T42" fmla="*/ 187 w 476"/>
                <a:gd name="T43" fmla="*/ 161 h 371"/>
                <a:gd name="T44" fmla="*/ 191 w 476"/>
                <a:gd name="T45" fmla="*/ 184 h 371"/>
                <a:gd name="T46" fmla="*/ 179 w 476"/>
                <a:gd name="T47" fmla="*/ 203 h 371"/>
                <a:gd name="T48" fmla="*/ 310 w 476"/>
                <a:gd name="T49" fmla="*/ 0 h 371"/>
                <a:gd name="T50" fmla="*/ 254 w 476"/>
                <a:gd name="T51" fmla="*/ 10 h 371"/>
                <a:gd name="T52" fmla="*/ 205 w 476"/>
                <a:gd name="T53" fmla="*/ 42 h 371"/>
                <a:gd name="T54" fmla="*/ 139 w 476"/>
                <a:gd name="T55" fmla="*/ 28 h 371"/>
                <a:gd name="T56" fmla="*/ 99 w 476"/>
                <a:gd name="T57" fmla="*/ 35 h 371"/>
                <a:gd name="T58" fmla="*/ 62 w 476"/>
                <a:gd name="T59" fmla="*/ 54 h 371"/>
                <a:gd name="T60" fmla="*/ 32 w 476"/>
                <a:gd name="T61" fmla="*/ 87 h 371"/>
                <a:gd name="T62" fmla="*/ 11 w 476"/>
                <a:gd name="T63" fmla="*/ 127 h 371"/>
                <a:gd name="T64" fmla="*/ 0 w 476"/>
                <a:gd name="T65" fmla="*/ 188 h 371"/>
                <a:gd name="T66" fmla="*/ 31 w 476"/>
                <a:gd name="T67" fmla="*/ 189 h 371"/>
                <a:gd name="T68" fmla="*/ 73 w 476"/>
                <a:gd name="T69" fmla="*/ 198 h 371"/>
                <a:gd name="T70" fmla="*/ 105 w 476"/>
                <a:gd name="T71" fmla="*/ 217 h 371"/>
                <a:gd name="T72" fmla="*/ 126 w 476"/>
                <a:gd name="T73" fmla="*/ 244 h 371"/>
                <a:gd name="T74" fmla="*/ 135 w 476"/>
                <a:gd name="T75" fmla="*/ 289 h 371"/>
                <a:gd name="T76" fmla="*/ 154 w 476"/>
                <a:gd name="T77" fmla="*/ 324 h 371"/>
                <a:gd name="T78" fmla="*/ 188 w 476"/>
                <a:gd name="T79" fmla="*/ 359 h 371"/>
                <a:gd name="T80" fmla="*/ 237 w 476"/>
                <a:gd name="T81" fmla="*/ 371 h 371"/>
                <a:gd name="T82" fmla="*/ 281 w 476"/>
                <a:gd name="T83" fmla="*/ 359 h 371"/>
                <a:gd name="T84" fmla="*/ 319 w 476"/>
                <a:gd name="T85" fmla="*/ 326 h 371"/>
                <a:gd name="T86" fmla="*/ 384 w 476"/>
                <a:gd name="T87" fmla="*/ 313 h 371"/>
                <a:gd name="T88" fmla="*/ 436 w 476"/>
                <a:gd name="T89" fmla="*/ 277 h 371"/>
                <a:gd name="T90" fmla="*/ 465 w 476"/>
                <a:gd name="T91" fmla="*/ 228 h 371"/>
                <a:gd name="T92" fmla="*/ 476 w 476"/>
                <a:gd name="T93" fmla="*/ 169 h 371"/>
                <a:gd name="T94" fmla="*/ 465 w 476"/>
                <a:gd name="T95" fmla="*/ 108 h 371"/>
                <a:gd name="T96" fmla="*/ 433 w 476"/>
                <a:gd name="T97" fmla="*/ 53 h 371"/>
                <a:gd name="T98" fmla="*/ 381 w 476"/>
                <a:gd name="T99" fmla="*/ 15 h 371"/>
                <a:gd name="T100" fmla="*/ 310 w 476"/>
                <a:gd name="T101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6" h="371">
                  <a:moveTo>
                    <a:pt x="343" y="208"/>
                  </a:moveTo>
                  <a:lnTo>
                    <a:pt x="337" y="208"/>
                  </a:lnTo>
                  <a:lnTo>
                    <a:pt x="331" y="205"/>
                  </a:lnTo>
                  <a:lnTo>
                    <a:pt x="326" y="203"/>
                  </a:lnTo>
                  <a:lnTo>
                    <a:pt x="321" y="200"/>
                  </a:lnTo>
                  <a:lnTo>
                    <a:pt x="318" y="195"/>
                  </a:lnTo>
                  <a:lnTo>
                    <a:pt x="314" y="190"/>
                  </a:lnTo>
                  <a:lnTo>
                    <a:pt x="313" y="184"/>
                  </a:lnTo>
                  <a:lnTo>
                    <a:pt x="312" y="178"/>
                  </a:lnTo>
                  <a:lnTo>
                    <a:pt x="313" y="172"/>
                  </a:lnTo>
                  <a:lnTo>
                    <a:pt x="314" y="166"/>
                  </a:lnTo>
                  <a:lnTo>
                    <a:pt x="318" y="161"/>
                  </a:lnTo>
                  <a:lnTo>
                    <a:pt x="321" y="157"/>
                  </a:lnTo>
                  <a:lnTo>
                    <a:pt x="326" y="153"/>
                  </a:lnTo>
                  <a:lnTo>
                    <a:pt x="331" y="150"/>
                  </a:lnTo>
                  <a:lnTo>
                    <a:pt x="337" y="148"/>
                  </a:lnTo>
                  <a:lnTo>
                    <a:pt x="343" y="147"/>
                  </a:lnTo>
                  <a:lnTo>
                    <a:pt x="349" y="148"/>
                  </a:lnTo>
                  <a:lnTo>
                    <a:pt x="355" y="150"/>
                  </a:lnTo>
                  <a:lnTo>
                    <a:pt x="359" y="153"/>
                  </a:lnTo>
                  <a:lnTo>
                    <a:pt x="364" y="157"/>
                  </a:lnTo>
                  <a:lnTo>
                    <a:pt x="368" y="161"/>
                  </a:lnTo>
                  <a:lnTo>
                    <a:pt x="370" y="166"/>
                  </a:lnTo>
                  <a:lnTo>
                    <a:pt x="373" y="172"/>
                  </a:lnTo>
                  <a:lnTo>
                    <a:pt x="373" y="178"/>
                  </a:lnTo>
                  <a:lnTo>
                    <a:pt x="373" y="184"/>
                  </a:lnTo>
                  <a:lnTo>
                    <a:pt x="370" y="190"/>
                  </a:lnTo>
                  <a:lnTo>
                    <a:pt x="368" y="195"/>
                  </a:lnTo>
                  <a:lnTo>
                    <a:pt x="364" y="200"/>
                  </a:lnTo>
                  <a:lnTo>
                    <a:pt x="359" y="203"/>
                  </a:lnTo>
                  <a:lnTo>
                    <a:pt x="355" y="205"/>
                  </a:lnTo>
                  <a:lnTo>
                    <a:pt x="349" y="208"/>
                  </a:lnTo>
                  <a:lnTo>
                    <a:pt x="343" y="208"/>
                  </a:lnTo>
                  <a:close/>
                  <a:moveTo>
                    <a:pt x="252" y="208"/>
                  </a:moveTo>
                  <a:lnTo>
                    <a:pt x="246" y="208"/>
                  </a:lnTo>
                  <a:lnTo>
                    <a:pt x="241" y="205"/>
                  </a:lnTo>
                  <a:lnTo>
                    <a:pt x="235" y="203"/>
                  </a:lnTo>
                  <a:lnTo>
                    <a:pt x="231" y="200"/>
                  </a:lnTo>
                  <a:lnTo>
                    <a:pt x="227" y="195"/>
                  </a:lnTo>
                  <a:lnTo>
                    <a:pt x="224" y="190"/>
                  </a:lnTo>
                  <a:lnTo>
                    <a:pt x="223" y="184"/>
                  </a:lnTo>
                  <a:lnTo>
                    <a:pt x="222" y="178"/>
                  </a:lnTo>
                  <a:lnTo>
                    <a:pt x="223" y="172"/>
                  </a:lnTo>
                  <a:lnTo>
                    <a:pt x="224" y="166"/>
                  </a:lnTo>
                  <a:lnTo>
                    <a:pt x="227" y="161"/>
                  </a:lnTo>
                  <a:lnTo>
                    <a:pt x="231" y="157"/>
                  </a:lnTo>
                  <a:lnTo>
                    <a:pt x="235" y="153"/>
                  </a:lnTo>
                  <a:lnTo>
                    <a:pt x="241" y="150"/>
                  </a:lnTo>
                  <a:lnTo>
                    <a:pt x="246" y="148"/>
                  </a:lnTo>
                  <a:lnTo>
                    <a:pt x="252" y="147"/>
                  </a:lnTo>
                  <a:lnTo>
                    <a:pt x="258" y="148"/>
                  </a:lnTo>
                  <a:lnTo>
                    <a:pt x="264" y="150"/>
                  </a:lnTo>
                  <a:lnTo>
                    <a:pt x="269" y="153"/>
                  </a:lnTo>
                  <a:lnTo>
                    <a:pt x="274" y="157"/>
                  </a:lnTo>
                  <a:lnTo>
                    <a:pt x="277" y="161"/>
                  </a:lnTo>
                  <a:lnTo>
                    <a:pt x="280" y="166"/>
                  </a:lnTo>
                  <a:lnTo>
                    <a:pt x="282" y="172"/>
                  </a:lnTo>
                  <a:lnTo>
                    <a:pt x="282" y="178"/>
                  </a:lnTo>
                  <a:lnTo>
                    <a:pt x="282" y="184"/>
                  </a:lnTo>
                  <a:lnTo>
                    <a:pt x="280" y="190"/>
                  </a:lnTo>
                  <a:lnTo>
                    <a:pt x="277" y="195"/>
                  </a:lnTo>
                  <a:lnTo>
                    <a:pt x="274" y="200"/>
                  </a:lnTo>
                  <a:lnTo>
                    <a:pt x="269" y="203"/>
                  </a:lnTo>
                  <a:lnTo>
                    <a:pt x="264" y="205"/>
                  </a:lnTo>
                  <a:lnTo>
                    <a:pt x="258" y="208"/>
                  </a:lnTo>
                  <a:lnTo>
                    <a:pt x="252" y="208"/>
                  </a:lnTo>
                  <a:close/>
                  <a:moveTo>
                    <a:pt x="161" y="208"/>
                  </a:moveTo>
                  <a:lnTo>
                    <a:pt x="155" y="208"/>
                  </a:lnTo>
                  <a:lnTo>
                    <a:pt x="150" y="205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36" y="195"/>
                  </a:lnTo>
                  <a:lnTo>
                    <a:pt x="133" y="190"/>
                  </a:lnTo>
                  <a:lnTo>
                    <a:pt x="132" y="184"/>
                  </a:lnTo>
                  <a:lnTo>
                    <a:pt x="131" y="178"/>
                  </a:lnTo>
                  <a:lnTo>
                    <a:pt x="132" y="172"/>
                  </a:lnTo>
                  <a:lnTo>
                    <a:pt x="133" y="166"/>
                  </a:lnTo>
                  <a:lnTo>
                    <a:pt x="136" y="161"/>
                  </a:lnTo>
                  <a:lnTo>
                    <a:pt x="141" y="157"/>
                  </a:lnTo>
                  <a:lnTo>
                    <a:pt x="144" y="153"/>
                  </a:lnTo>
                  <a:lnTo>
                    <a:pt x="150" y="150"/>
                  </a:lnTo>
                  <a:lnTo>
                    <a:pt x="155" y="148"/>
                  </a:lnTo>
                  <a:lnTo>
                    <a:pt x="161" y="147"/>
                  </a:lnTo>
                  <a:lnTo>
                    <a:pt x="168" y="148"/>
                  </a:lnTo>
                  <a:lnTo>
                    <a:pt x="173" y="150"/>
                  </a:lnTo>
                  <a:lnTo>
                    <a:pt x="179" y="153"/>
                  </a:lnTo>
                  <a:lnTo>
                    <a:pt x="182" y="157"/>
                  </a:lnTo>
                  <a:lnTo>
                    <a:pt x="187" y="161"/>
                  </a:lnTo>
                  <a:lnTo>
                    <a:pt x="189" y="166"/>
                  </a:lnTo>
                  <a:lnTo>
                    <a:pt x="191" y="172"/>
                  </a:lnTo>
                  <a:lnTo>
                    <a:pt x="192" y="178"/>
                  </a:lnTo>
                  <a:lnTo>
                    <a:pt x="191" y="184"/>
                  </a:lnTo>
                  <a:lnTo>
                    <a:pt x="189" y="190"/>
                  </a:lnTo>
                  <a:lnTo>
                    <a:pt x="187" y="195"/>
                  </a:lnTo>
                  <a:lnTo>
                    <a:pt x="182" y="200"/>
                  </a:lnTo>
                  <a:lnTo>
                    <a:pt x="179" y="203"/>
                  </a:lnTo>
                  <a:lnTo>
                    <a:pt x="173" y="205"/>
                  </a:lnTo>
                  <a:lnTo>
                    <a:pt x="168" y="208"/>
                  </a:lnTo>
                  <a:lnTo>
                    <a:pt x="161" y="208"/>
                  </a:lnTo>
                  <a:close/>
                  <a:moveTo>
                    <a:pt x="310" y="0"/>
                  </a:moveTo>
                  <a:lnTo>
                    <a:pt x="294" y="1"/>
                  </a:lnTo>
                  <a:lnTo>
                    <a:pt x="280" y="2"/>
                  </a:lnTo>
                  <a:lnTo>
                    <a:pt x="267" y="6"/>
                  </a:lnTo>
                  <a:lnTo>
                    <a:pt x="254" y="10"/>
                  </a:lnTo>
                  <a:lnTo>
                    <a:pt x="241" y="16"/>
                  </a:lnTo>
                  <a:lnTo>
                    <a:pt x="227" y="23"/>
                  </a:lnTo>
                  <a:lnTo>
                    <a:pt x="216" y="32"/>
                  </a:lnTo>
                  <a:lnTo>
                    <a:pt x="205" y="42"/>
                  </a:lnTo>
                  <a:lnTo>
                    <a:pt x="188" y="37"/>
                  </a:lnTo>
                  <a:lnTo>
                    <a:pt x="172" y="32"/>
                  </a:lnTo>
                  <a:lnTo>
                    <a:pt x="156" y="28"/>
                  </a:lnTo>
                  <a:lnTo>
                    <a:pt x="139" y="28"/>
                  </a:lnTo>
                  <a:lnTo>
                    <a:pt x="130" y="28"/>
                  </a:lnTo>
                  <a:lnTo>
                    <a:pt x="119" y="29"/>
                  </a:lnTo>
                  <a:lnTo>
                    <a:pt x="108" y="32"/>
                  </a:lnTo>
                  <a:lnTo>
                    <a:pt x="99" y="35"/>
                  </a:lnTo>
                  <a:lnTo>
                    <a:pt x="89" y="39"/>
                  </a:lnTo>
                  <a:lnTo>
                    <a:pt x="80" y="44"/>
                  </a:lnTo>
                  <a:lnTo>
                    <a:pt x="70" y="48"/>
                  </a:lnTo>
                  <a:lnTo>
                    <a:pt x="62" y="54"/>
                  </a:lnTo>
                  <a:lnTo>
                    <a:pt x="54" y="62"/>
                  </a:lnTo>
                  <a:lnTo>
                    <a:pt x="45" y="69"/>
                  </a:lnTo>
                  <a:lnTo>
                    <a:pt x="38" y="77"/>
                  </a:lnTo>
                  <a:lnTo>
                    <a:pt x="32" y="87"/>
                  </a:lnTo>
                  <a:lnTo>
                    <a:pt x="25" y="95"/>
                  </a:lnTo>
                  <a:lnTo>
                    <a:pt x="20" y="106"/>
                  </a:lnTo>
                  <a:lnTo>
                    <a:pt x="15" y="116"/>
                  </a:lnTo>
                  <a:lnTo>
                    <a:pt x="11" y="127"/>
                  </a:lnTo>
                  <a:lnTo>
                    <a:pt x="5" y="142"/>
                  </a:lnTo>
                  <a:lnTo>
                    <a:pt x="3" y="158"/>
                  </a:lnTo>
                  <a:lnTo>
                    <a:pt x="0" y="172"/>
                  </a:lnTo>
                  <a:lnTo>
                    <a:pt x="0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9" y="188"/>
                  </a:lnTo>
                  <a:lnTo>
                    <a:pt x="31" y="189"/>
                  </a:lnTo>
                  <a:lnTo>
                    <a:pt x="42" y="190"/>
                  </a:lnTo>
                  <a:lnTo>
                    <a:pt x="53" y="192"/>
                  </a:lnTo>
                  <a:lnTo>
                    <a:pt x="62" y="195"/>
                  </a:lnTo>
                  <a:lnTo>
                    <a:pt x="73" y="198"/>
                  </a:lnTo>
                  <a:lnTo>
                    <a:pt x="81" y="202"/>
                  </a:lnTo>
                  <a:lnTo>
                    <a:pt x="89" y="207"/>
                  </a:lnTo>
                  <a:lnTo>
                    <a:pt x="98" y="211"/>
                  </a:lnTo>
                  <a:lnTo>
                    <a:pt x="105" y="217"/>
                  </a:lnTo>
                  <a:lnTo>
                    <a:pt x="111" y="223"/>
                  </a:lnTo>
                  <a:lnTo>
                    <a:pt x="117" y="229"/>
                  </a:lnTo>
                  <a:lnTo>
                    <a:pt x="122" y="236"/>
                  </a:lnTo>
                  <a:lnTo>
                    <a:pt x="126" y="244"/>
                  </a:lnTo>
                  <a:lnTo>
                    <a:pt x="130" y="252"/>
                  </a:lnTo>
                  <a:lnTo>
                    <a:pt x="132" y="260"/>
                  </a:lnTo>
                  <a:lnTo>
                    <a:pt x="135" y="274"/>
                  </a:lnTo>
                  <a:lnTo>
                    <a:pt x="135" y="289"/>
                  </a:lnTo>
                  <a:lnTo>
                    <a:pt x="133" y="304"/>
                  </a:lnTo>
                  <a:lnTo>
                    <a:pt x="130" y="320"/>
                  </a:lnTo>
                  <a:lnTo>
                    <a:pt x="144" y="323"/>
                  </a:lnTo>
                  <a:lnTo>
                    <a:pt x="154" y="324"/>
                  </a:lnTo>
                  <a:lnTo>
                    <a:pt x="161" y="335"/>
                  </a:lnTo>
                  <a:lnTo>
                    <a:pt x="169" y="343"/>
                  </a:lnTo>
                  <a:lnTo>
                    <a:pt x="179" y="352"/>
                  </a:lnTo>
                  <a:lnTo>
                    <a:pt x="188" y="359"/>
                  </a:lnTo>
                  <a:lnTo>
                    <a:pt x="200" y="364"/>
                  </a:lnTo>
                  <a:lnTo>
                    <a:pt x="212" y="367"/>
                  </a:lnTo>
                  <a:lnTo>
                    <a:pt x="224" y="370"/>
                  </a:lnTo>
                  <a:lnTo>
                    <a:pt x="237" y="371"/>
                  </a:lnTo>
                  <a:lnTo>
                    <a:pt x="248" y="370"/>
                  </a:lnTo>
                  <a:lnTo>
                    <a:pt x="260" y="368"/>
                  </a:lnTo>
                  <a:lnTo>
                    <a:pt x="270" y="364"/>
                  </a:lnTo>
                  <a:lnTo>
                    <a:pt x="281" y="359"/>
                  </a:lnTo>
                  <a:lnTo>
                    <a:pt x="292" y="353"/>
                  </a:lnTo>
                  <a:lnTo>
                    <a:pt x="301" y="345"/>
                  </a:lnTo>
                  <a:lnTo>
                    <a:pt x="311" y="336"/>
                  </a:lnTo>
                  <a:lnTo>
                    <a:pt x="319" y="326"/>
                  </a:lnTo>
                  <a:lnTo>
                    <a:pt x="337" y="324"/>
                  </a:lnTo>
                  <a:lnTo>
                    <a:pt x="354" y="322"/>
                  </a:lnTo>
                  <a:lnTo>
                    <a:pt x="369" y="317"/>
                  </a:lnTo>
                  <a:lnTo>
                    <a:pt x="384" y="313"/>
                  </a:lnTo>
                  <a:lnTo>
                    <a:pt x="399" y="305"/>
                  </a:lnTo>
                  <a:lnTo>
                    <a:pt x="412" y="297"/>
                  </a:lnTo>
                  <a:lnTo>
                    <a:pt x="424" y="288"/>
                  </a:lnTo>
                  <a:lnTo>
                    <a:pt x="436" y="277"/>
                  </a:lnTo>
                  <a:lnTo>
                    <a:pt x="445" y="266"/>
                  </a:lnTo>
                  <a:lnTo>
                    <a:pt x="452" y="254"/>
                  </a:lnTo>
                  <a:lnTo>
                    <a:pt x="459" y="241"/>
                  </a:lnTo>
                  <a:lnTo>
                    <a:pt x="465" y="228"/>
                  </a:lnTo>
                  <a:lnTo>
                    <a:pt x="470" y="214"/>
                  </a:lnTo>
                  <a:lnTo>
                    <a:pt x="472" y="200"/>
                  </a:lnTo>
                  <a:lnTo>
                    <a:pt x="475" y="184"/>
                  </a:lnTo>
                  <a:lnTo>
                    <a:pt x="476" y="169"/>
                  </a:lnTo>
                  <a:lnTo>
                    <a:pt x="475" y="153"/>
                  </a:lnTo>
                  <a:lnTo>
                    <a:pt x="472" y="138"/>
                  </a:lnTo>
                  <a:lnTo>
                    <a:pt x="470" y="122"/>
                  </a:lnTo>
                  <a:lnTo>
                    <a:pt x="465" y="108"/>
                  </a:lnTo>
                  <a:lnTo>
                    <a:pt x="458" y="94"/>
                  </a:lnTo>
                  <a:lnTo>
                    <a:pt x="451" y="79"/>
                  </a:lnTo>
                  <a:lnTo>
                    <a:pt x="443" y="66"/>
                  </a:lnTo>
                  <a:lnTo>
                    <a:pt x="433" y="53"/>
                  </a:lnTo>
                  <a:lnTo>
                    <a:pt x="421" y="42"/>
                  </a:lnTo>
                  <a:lnTo>
                    <a:pt x="409" y="32"/>
                  </a:lnTo>
                  <a:lnTo>
                    <a:pt x="396" y="22"/>
                  </a:lnTo>
                  <a:lnTo>
                    <a:pt x="381" y="15"/>
                  </a:lnTo>
                  <a:lnTo>
                    <a:pt x="364" y="8"/>
                  </a:lnTo>
                  <a:lnTo>
                    <a:pt x="348" y="3"/>
                  </a:lnTo>
                  <a:lnTo>
                    <a:pt x="329" y="1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" name="Freeform 2992"/>
            <p:cNvSpPr/>
            <p:nvPr/>
          </p:nvSpPr>
          <p:spPr bwMode="auto">
            <a:xfrm>
              <a:off x="1460463" y="863600"/>
              <a:ext cx="190500" cy="201613"/>
            </a:xfrm>
            <a:custGeom>
              <a:avLst/>
              <a:gdLst>
                <a:gd name="T0" fmla="*/ 393 w 480"/>
                <a:gd name="T1" fmla="*/ 357 h 507"/>
                <a:gd name="T2" fmla="*/ 312 w 480"/>
                <a:gd name="T3" fmla="*/ 312 h 507"/>
                <a:gd name="T4" fmla="*/ 320 w 480"/>
                <a:gd name="T5" fmla="*/ 267 h 507"/>
                <a:gd name="T6" fmla="*/ 324 w 480"/>
                <a:gd name="T7" fmla="*/ 261 h 507"/>
                <a:gd name="T8" fmla="*/ 329 w 480"/>
                <a:gd name="T9" fmla="*/ 254 h 507"/>
                <a:gd name="T10" fmla="*/ 332 w 480"/>
                <a:gd name="T11" fmla="*/ 244 h 507"/>
                <a:gd name="T12" fmla="*/ 336 w 480"/>
                <a:gd name="T13" fmla="*/ 231 h 507"/>
                <a:gd name="T14" fmla="*/ 338 w 480"/>
                <a:gd name="T15" fmla="*/ 219 h 507"/>
                <a:gd name="T16" fmla="*/ 339 w 480"/>
                <a:gd name="T17" fmla="*/ 203 h 507"/>
                <a:gd name="T18" fmla="*/ 351 w 480"/>
                <a:gd name="T19" fmla="*/ 190 h 507"/>
                <a:gd name="T20" fmla="*/ 354 w 480"/>
                <a:gd name="T21" fmla="*/ 185 h 507"/>
                <a:gd name="T22" fmla="*/ 356 w 480"/>
                <a:gd name="T23" fmla="*/ 179 h 507"/>
                <a:gd name="T24" fmla="*/ 357 w 480"/>
                <a:gd name="T25" fmla="*/ 173 h 507"/>
                <a:gd name="T26" fmla="*/ 358 w 480"/>
                <a:gd name="T27" fmla="*/ 166 h 507"/>
                <a:gd name="T28" fmla="*/ 357 w 480"/>
                <a:gd name="T29" fmla="*/ 149 h 507"/>
                <a:gd name="T30" fmla="*/ 355 w 480"/>
                <a:gd name="T31" fmla="*/ 140 h 507"/>
                <a:gd name="T32" fmla="*/ 350 w 480"/>
                <a:gd name="T33" fmla="*/ 131 h 507"/>
                <a:gd name="T34" fmla="*/ 343 w 480"/>
                <a:gd name="T35" fmla="*/ 125 h 507"/>
                <a:gd name="T36" fmla="*/ 351 w 480"/>
                <a:gd name="T37" fmla="*/ 100 h 507"/>
                <a:gd name="T38" fmla="*/ 354 w 480"/>
                <a:gd name="T39" fmla="*/ 88 h 507"/>
                <a:gd name="T40" fmla="*/ 350 w 480"/>
                <a:gd name="T41" fmla="*/ 48 h 507"/>
                <a:gd name="T42" fmla="*/ 336 w 480"/>
                <a:gd name="T43" fmla="*/ 28 h 507"/>
                <a:gd name="T44" fmla="*/ 305 w 480"/>
                <a:gd name="T45" fmla="*/ 9 h 507"/>
                <a:gd name="T46" fmla="*/ 244 w 480"/>
                <a:gd name="T47" fmla="*/ 0 h 507"/>
                <a:gd name="T48" fmla="*/ 229 w 480"/>
                <a:gd name="T49" fmla="*/ 2 h 507"/>
                <a:gd name="T50" fmla="*/ 215 w 480"/>
                <a:gd name="T51" fmla="*/ 4 h 507"/>
                <a:gd name="T52" fmla="*/ 199 w 480"/>
                <a:gd name="T53" fmla="*/ 9 h 507"/>
                <a:gd name="T54" fmla="*/ 181 w 480"/>
                <a:gd name="T55" fmla="*/ 16 h 507"/>
                <a:gd name="T56" fmla="*/ 157 w 480"/>
                <a:gd name="T57" fmla="*/ 38 h 507"/>
                <a:gd name="T58" fmla="*/ 150 w 480"/>
                <a:gd name="T59" fmla="*/ 44 h 507"/>
                <a:gd name="T60" fmla="*/ 138 w 480"/>
                <a:gd name="T61" fmla="*/ 46 h 507"/>
                <a:gd name="T62" fmla="*/ 131 w 480"/>
                <a:gd name="T63" fmla="*/ 48 h 507"/>
                <a:gd name="T64" fmla="*/ 125 w 480"/>
                <a:gd name="T65" fmla="*/ 53 h 507"/>
                <a:gd name="T66" fmla="*/ 121 w 480"/>
                <a:gd name="T67" fmla="*/ 60 h 507"/>
                <a:gd name="T68" fmla="*/ 118 w 480"/>
                <a:gd name="T69" fmla="*/ 68 h 507"/>
                <a:gd name="T70" fmla="*/ 118 w 480"/>
                <a:gd name="T71" fmla="*/ 77 h 507"/>
                <a:gd name="T72" fmla="*/ 119 w 480"/>
                <a:gd name="T73" fmla="*/ 85 h 507"/>
                <a:gd name="T74" fmla="*/ 121 w 480"/>
                <a:gd name="T75" fmla="*/ 94 h 507"/>
                <a:gd name="T76" fmla="*/ 124 w 480"/>
                <a:gd name="T77" fmla="*/ 103 h 507"/>
                <a:gd name="T78" fmla="*/ 130 w 480"/>
                <a:gd name="T79" fmla="*/ 117 h 507"/>
                <a:gd name="T80" fmla="*/ 126 w 480"/>
                <a:gd name="T81" fmla="*/ 130 h 507"/>
                <a:gd name="T82" fmla="*/ 115 w 480"/>
                <a:gd name="T83" fmla="*/ 155 h 507"/>
                <a:gd name="T84" fmla="*/ 116 w 480"/>
                <a:gd name="T85" fmla="*/ 175 h 507"/>
                <a:gd name="T86" fmla="*/ 119 w 480"/>
                <a:gd name="T87" fmla="*/ 186 h 507"/>
                <a:gd name="T88" fmla="*/ 125 w 480"/>
                <a:gd name="T89" fmla="*/ 194 h 507"/>
                <a:gd name="T90" fmla="*/ 134 w 480"/>
                <a:gd name="T91" fmla="*/ 201 h 507"/>
                <a:gd name="T92" fmla="*/ 138 w 480"/>
                <a:gd name="T93" fmla="*/ 218 h 507"/>
                <a:gd name="T94" fmla="*/ 148 w 480"/>
                <a:gd name="T95" fmla="*/ 250 h 507"/>
                <a:gd name="T96" fmla="*/ 165 w 480"/>
                <a:gd name="T97" fmla="*/ 272 h 507"/>
                <a:gd name="T98" fmla="*/ 168 w 480"/>
                <a:gd name="T99" fmla="*/ 319 h 507"/>
                <a:gd name="T100" fmla="*/ 62 w 480"/>
                <a:gd name="T101" fmla="*/ 370 h 507"/>
                <a:gd name="T102" fmla="*/ 9 w 480"/>
                <a:gd name="T103" fmla="*/ 408 h 507"/>
                <a:gd name="T104" fmla="*/ 0 w 480"/>
                <a:gd name="T105" fmla="*/ 424 h 507"/>
                <a:gd name="T106" fmla="*/ 9 w 480"/>
                <a:gd name="T107" fmla="*/ 506 h 507"/>
                <a:gd name="T108" fmla="*/ 476 w 480"/>
                <a:gd name="T109" fmla="*/ 504 h 507"/>
                <a:gd name="T110" fmla="*/ 480 w 480"/>
                <a:gd name="T111" fmla="*/ 420 h 507"/>
                <a:gd name="T112" fmla="*/ 462 w 480"/>
                <a:gd name="T113" fmla="*/ 399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07">
                  <a:moveTo>
                    <a:pt x="446" y="388"/>
                  </a:moveTo>
                  <a:lnTo>
                    <a:pt x="435" y="380"/>
                  </a:lnTo>
                  <a:lnTo>
                    <a:pt x="418" y="370"/>
                  </a:lnTo>
                  <a:lnTo>
                    <a:pt x="393" y="357"/>
                  </a:lnTo>
                  <a:lnTo>
                    <a:pt x="367" y="344"/>
                  </a:lnTo>
                  <a:lnTo>
                    <a:pt x="339" y="331"/>
                  </a:lnTo>
                  <a:lnTo>
                    <a:pt x="312" y="319"/>
                  </a:lnTo>
                  <a:lnTo>
                    <a:pt x="312" y="312"/>
                  </a:lnTo>
                  <a:lnTo>
                    <a:pt x="312" y="280"/>
                  </a:lnTo>
                  <a:lnTo>
                    <a:pt x="312" y="274"/>
                  </a:lnTo>
                  <a:lnTo>
                    <a:pt x="317" y="272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20" y="266"/>
                  </a:lnTo>
                  <a:lnTo>
                    <a:pt x="323" y="263"/>
                  </a:lnTo>
                  <a:lnTo>
                    <a:pt x="324" y="261"/>
                  </a:lnTo>
                  <a:lnTo>
                    <a:pt x="325" y="260"/>
                  </a:lnTo>
                  <a:lnTo>
                    <a:pt x="325" y="260"/>
                  </a:lnTo>
                  <a:lnTo>
                    <a:pt x="326" y="256"/>
                  </a:lnTo>
                  <a:lnTo>
                    <a:pt x="329" y="254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31" y="248"/>
                  </a:lnTo>
                  <a:lnTo>
                    <a:pt x="332" y="244"/>
                  </a:lnTo>
                  <a:lnTo>
                    <a:pt x="332" y="243"/>
                  </a:lnTo>
                  <a:lnTo>
                    <a:pt x="332" y="243"/>
                  </a:lnTo>
                  <a:lnTo>
                    <a:pt x="335" y="237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7" y="225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9" y="209"/>
                  </a:lnTo>
                  <a:lnTo>
                    <a:pt x="339" y="203"/>
                  </a:lnTo>
                  <a:lnTo>
                    <a:pt x="345" y="197"/>
                  </a:lnTo>
                  <a:lnTo>
                    <a:pt x="351" y="191"/>
                  </a:lnTo>
                  <a:lnTo>
                    <a:pt x="351" y="190"/>
                  </a:lnTo>
                  <a:lnTo>
                    <a:pt x="351" y="190"/>
                  </a:lnTo>
                  <a:lnTo>
                    <a:pt x="352" y="187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5" y="182"/>
                  </a:lnTo>
                  <a:lnTo>
                    <a:pt x="355" y="180"/>
                  </a:lnTo>
                  <a:lnTo>
                    <a:pt x="356" y="179"/>
                  </a:lnTo>
                  <a:lnTo>
                    <a:pt x="356" y="179"/>
                  </a:lnTo>
                  <a:lnTo>
                    <a:pt x="356" y="176"/>
                  </a:lnTo>
                  <a:lnTo>
                    <a:pt x="357" y="174"/>
                  </a:lnTo>
                  <a:lnTo>
                    <a:pt x="357" y="173"/>
                  </a:lnTo>
                  <a:lnTo>
                    <a:pt x="357" y="173"/>
                  </a:lnTo>
                  <a:lnTo>
                    <a:pt x="357" y="169"/>
                  </a:lnTo>
                  <a:lnTo>
                    <a:pt x="358" y="167"/>
                  </a:lnTo>
                  <a:lnTo>
                    <a:pt x="358" y="167"/>
                  </a:lnTo>
                  <a:lnTo>
                    <a:pt x="358" y="166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58" y="155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8"/>
                  </a:lnTo>
                  <a:lnTo>
                    <a:pt x="356" y="143"/>
                  </a:lnTo>
                  <a:lnTo>
                    <a:pt x="355" y="140"/>
                  </a:lnTo>
                  <a:lnTo>
                    <a:pt x="355" y="138"/>
                  </a:lnTo>
                  <a:lnTo>
                    <a:pt x="354" y="138"/>
                  </a:lnTo>
                  <a:lnTo>
                    <a:pt x="352" y="135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49" y="131"/>
                  </a:lnTo>
                  <a:lnTo>
                    <a:pt x="347" y="128"/>
                  </a:lnTo>
                  <a:lnTo>
                    <a:pt x="343" y="125"/>
                  </a:lnTo>
                  <a:lnTo>
                    <a:pt x="344" y="122"/>
                  </a:lnTo>
                  <a:lnTo>
                    <a:pt x="347" y="117"/>
                  </a:lnTo>
                  <a:lnTo>
                    <a:pt x="349" y="109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4" y="88"/>
                  </a:lnTo>
                  <a:lnTo>
                    <a:pt x="355" y="77"/>
                  </a:lnTo>
                  <a:lnTo>
                    <a:pt x="355" y="66"/>
                  </a:lnTo>
                  <a:lnTo>
                    <a:pt x="352" y="54"/>
                  </a:lnTo>
                  <a:lnTo>
                    <a:pt x="350" y="48"/>
                  </a:lnTo>
                  <a:lnTo>
                    <a:pt x="348" y="43"/>
                  </a:lnTo>
                  <a:lnTo>
                    <a:pt x="344" y="37"/>
                  </a:lnTo>
                  <a:lnTo>
                    <a:pt x="341" y="33"/>
                  </a:lnTo>
                  <a:lnTo>
                    <a:pt x="336" y="28"/>
                  </a:lnTo>
                  <a:lnTo>
                    <a:pt x="331" y="23"/>
                  </a:lnTo>
                  <a:lnTo>
                    <a:pt x="325" y="18"/>
                  </a:lnTo>
                  <a:lnTo>
                    <a:pt x="319" y="15"/>
                  </a:lnTo>
                  <a:lnTo>
                    <a:pt x="305" y="9"/>
                  </a:lnTo>
                  <a:lnTo>
                    <a:pt x="288" y="4"/>
                  </a:lnTo>
                  <a:lnTo>
                    <a:pt x="270" y="2"/>
                  </a:lnTo>
                  <a:lnTo>
                    <a:pt x="251" y="0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2" y="2"/>
                  </a:lnTo>
                  <a:lnTo>
                    <a:pt x="229" y="2"/>
                  </a:lnTo>
                  <a:lnTo>
                    <a:pt x="224" y="3"/>
                  </a:lnTo>
                  <a:lnTo>
                    <a:pt x="220" y="3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2" y="5"/>
                  </a:lnTo>
                  <a:lnTo>
                    <a:pt x="207" y="6"/>
                  </a:lnTo>
                  <a:lnTo>
                    <a:pt x="204" y="8"/>
                  </a:lnTo>
                  <a:lnTo>
                    <a:pt x="199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92" y="11"/>
                  </a:lnTo>
                  <a:lnTo>
                    <a:pt x="181" y="16"/>
                  </a:lnTo>
                  <a:lnTo>
                    <a:pt x="172" y="23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42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3" y="44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5" y="47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0" y="49"/>
                  </a:lnTo>
                  <a:lnTo>
                    <a:pt x="128" y="50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4" y="55"/>
                  </a:lnTo>
                  <a:lnTo>
                    <a:pt x="123" y="56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9" y="66"/>
                  </a:lnTo>
                  <a:lnTo>
                    <a:pt x="118" y="68"/>
                  </a:lnTo>
                  <a:lnTo>
                    <a:pt x="118" y="71"/>
                  </a:lnTo>
                  <a:lnTo>
                    <a:pt x="118" y="73"/>
                  </a:lnTo>
                  <a:lnTo>
                    <a:pt x="118" y="75"/>
                  </a:lnTo>
                  <a:lnTo>
                    <a:pt x="118" y="77"/>
                  </a:lnTo>
                  <a:lnTo>
                    <a:pt x="118" y="79"/>
                  </a:lnTo>
                  <a:lnTo>
                    <a:pt x="118" y="81"/>
                  </a:lnTo>
                  <a:lnTo>
                    <a:pt x="118" y="84"/>
                  </a:lnTo>
                  <a:lnTo>
                    <a:pt x="119" y="85"/>
                  </a:lnTo>
                  <a:lnTo>
                    <a:pt x="119" y="87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2" y="96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4" y="103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6" y="109"/>
                  </a:lnTo>
                  <a:lnTo>
                    <a:pt x="130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4" y="125"/>
                  </a:lnTo>
                  <a:lnTo>
                    <a:pt x="126" y="130"/>
                  </a:lnTo>
                  <a:lnTo>
                    <a:pt x="122" y="136"/>
                  </a:lnTo>
                  <a:lnTo>
                    <a:pt x="118" y="142"/>
                  </a:lnTo>
                  <a:lnTo>
                    <a:pt x="116" y="148"/>
                  </a:lnTo>
                  <a:lnTo>
                    <a:pt x="115" y="155"/>
                  </a:lnTo>
                  <a:lnTo>
                    <a:pt x="115" y="163"/>
                  </a:lnTo>
                  <a:lnTo>
                    <a:pt x="115" y="168"/>
                  </a:lnTo>
                  <a:lnTo>
                    <a:pt x="116" y="174"/>
                  </a:lnTo>
                  <a:lnTo>
                    <a:pt x="116" y="175"/>
                  </a:lnTo>
                  <a:lnTo>
                    <a:pt x="116" y="175"/>
                  </a:lnTo>
                  <a:lnTo>
                    <a:pt x="117" y="180"/>
                  </a:lnTo>
                  <a:lnTo>
                    <a:pt x="118" y="185"/>
                  </a:lnTo>
                  <a:lnTo>
                    <a:pt x="119" y="186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24" y="193"/>
                  </a:lnTo>
                  <a:lnTo>
                    <a:pt x="125" y="194"/>
                  </a:lnTo>
                  <a:lnTo>
                    <a:pt x="126" y="195"/>
                  </a:lnTo>
                  <a:lnTo>
                    <a:pt x="128" y="198"/>
                  </a:lnTo>
                  <a:lnTo>
                    <a:pt x="130" y="199"/>
                  </a:lnTo>
                  <a:lnTo>
                    <a:pt x="134" y="201"/>
                  </a:lnTo>
                  <a:lnTo>
                    <a:pt x="137" y="203"/>
                  </a:lnTo>
                  <a:lnTo>
                    <a:pt x="137" y="210"/>
                  </a:lnTo>
                  <a:lnTo>
                    <a:pt x="138" y="216"/>
                  </a:lnTo>
                  <a:lnTo>
                    <a:pt x="138" y="218"/>
                  </a:lnTo>
                  <a:lnTo>
                    <a:pt x="138" y="220"/>
                  </a:lnTo>
                  <a:lnTo>
                    <a:pt x="141" y="231"/>
                  </a:lnTo>
                  <a:lnTo>
                    <a:pt x="144" y="242"/>
                  </a:lnTo>
                  <a:lnTo>
                    <a:pt x="148" y="250"/>
                  </a:lnTo>
                  <a:lnTo>
                    <a:pt x="153" y="257"/>
                  </a:lnTo>
                  <a:lnTo>
                    <a:pt x="156" y="263"/>
                  </a:lnTo>
                  <a:lnTo>
                    <a:pt x="161" y="268"/>
                  </a:lnTo>
                  <a:lnTo>
                    <a:pt x="165" y="272"/>
                  </a:lnTo>
                  <a:lnTo>
                    <a:pt x="168" y="275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19"/>
                  </a:lnTo>
                  <a:lnTo>
                    <a:pt x="142" y="331"/>
                  </a:lnTo>
                  <a:lnTo>
                    <a:pt x="115" y="344"/>
                  </a:lnTo>
                  <a:lnTo>
                    <a:pt x="87" y="357"/>
                  </a:lnTo>
                  <a:lnTo>
                    <a:pt x="62" y="370"/>
                  </a:lnTo>
                  <a:lnTo>
                    <a:pt x="47" y="380"/>
                  </a:lnTo>
                  <a:lnTo>
                    <a:pt x="34" y="388"/>
                  </a:lnTo>
                  <a:lnTo>
                    <a:pt x="19" y="399"/>
                  </a:lnTo>
                  <a:lnTo>
                    <a:pt x="9" y="408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2" y="420"/>
                  </a:lnTo>
                  <a:lnTo>
                    <a:pt x="0" y="424"/>
                  </a:lnTo>
                  <a:lnTo>
                    <a:pt x="0" y="495"/>
                  </a:lnTo>
                  <a:lnTo>
                    <a:pt x="2" y="500"/>
                  </a:lnTo>
                  <a:lnTo>
                    <a:pt x="4" y="504"/>
                  </a:lnTo>
                  <a:lnTo>
                    <a:pt x="9" y="506"/>
                  </a:lnTo>
                  <a:lnTo>
                    <a:pt x="13" y="507"/>
                  </a:lnTo>
                  <a:lnTo>
                    <a:pt x="468" y="507"/>
                  </a:lnTo>
                  <a:lnTo>
                    <a:pt x="473" y="506"/>
                  </a:lnTo>
                  <a:lnTo>
                    <a:pt x="476" y="504"/>
                  </a:lnTo>
                  <a:lnTo>
                    <a:pt x="479" y="500"/>
                  </a:lnTo>
                  <a:lnTo>
                    <a:pt x="480" y="495"/>
                  </a:lnTo>
                  <a:lnTo>
                    <a:pt x="480" y="424"/>
                  </a:lnTo>
                  <a:lnTo>
                    <a:pt x="480" y="420"/>
                  </a:lnTo>
                  <a:lnTo>
                    <a:pt x="479" y="417"/>
                  </a:lnTo>
                  <a:lnTo>
                    <a:pt x="475" y="413"/>
                  </a:lnTo>
                  <a:lnTo>
                    <a:pt x="471" y="408"/>
                  </a:lnTo>
                  <a:lnTo>
                    <a:pt x="462" y="399"/>
                  </a:lnTo>
                  <a:lnTo>
                    <a:pt x="44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0147753" y="2200716"/>
            <a:ext cx="285751" cy="287338"/>
            <a:chOff x="2025650" y="1920875"/>
            <a:chExt cx="285751" cy="287338"/>
          </a:xfrm>
          <a:solidFill>
            <a:schemeClr val="bg1"/>
          </a:solidFill>
        </p:grpSpPr>
        <p:sp>
          <p:nvSpPr>
            <p:cNvPr id="34" name="Freeform 703"/>
            <p:cNvSpPr>
              <a:spLocks noEditPoints="1"/>
            </p:cNvSpPr>
            <p:nvPr/>
          </p:nvSpPr>
          <p:spPr bwMode="auto">
            <a:xfrm>
              <a:off x="2025650" y="1920875"/>
              <a:ext cx="222250" cy="287338"/>
            </a:xfrm>
            <a:custGeom>
              <a:avLst/>
              <a:gdLst>
                <a:gd name="T0" fmla="*/ 123 w 702"/>
                <a:gd name="T1" fmla="*/ 144 h 904"/>
                <a:gd name="T2" fmla="*/ 125 w 702"/>
                <a:gd name="T3" fmla="*/ 125 h 904"/>
                <a:gd name="T4" fmla="*/ 532 w 702"/>
                <a:gd name="T5" fmla="*/ 122 h 904"/>
                <a:gd name="T6" fmla="*/ 542 w 702"/>
                <a:gd name="T7" fmla="*/ 139 h 904"/>
                <a:gd name="T8" fmla="*/ 527 w 702"/>
                <a:gd name="T9" fmla="*/ 151 h 904"/>
                <a:gd name="T10" fmla="*/ 424 w 702"/>
                <a:gd name="T11" fmla="*/ 294 h 904"/>
                <a:gd name="T12" fmla="*/ 426 w 702"/>
                <a:gd name="T13" fmla="*/ 276 h 904"/>
                <a:gd name="T14" fmla="*/ 532 w 702"/>
                <a:gd name="T15" fmla="*/ 272 h 904"/>
                <a:gd name="T16" fmla="*/ 542 w 702"/>
                <a:gd name="T17" fmla="*/ 289 h 904"/>
                <a:gd name="T18" fmla="*/ 527 w 702"/>
                <a:gd name="T19" fmla="*/ 301 h 904"/>
                <a:gd name="T20" fmla="*/ 394 w 702"/>
                <a:gd name="T21" fmla="*/ 354 h 904"/>
                <a:gd name="T22" fmla="*/ 396 w 702"/>
                <a:gd name="T23" fmla="*/ 336 h 904"/>
                <a:gd name="T24" fmla="*/ 532 w 702"/>
                <a:gd name="T25" fmla="*/ 333 h 904"/>
                <a:gd name="T26" fmla="*/ 542 w 702"/>
                <a:gd name="T27" fmla="*/ 349 h 904"/>
                <a:gd name="T28" fmla="*/ 527 w 702"/>
                <a:gd name="T29" fmla="*/ 362 h 904"/>
                <a:gd name="T30" fmla="*/ 394 w 702"/>
                <a:gd name="T31" fmla="*/ 416 h 904"/>
                <a:gd name="T32" fmla="*/ 396 w 702"/>
                <a:gd name="T33" fmla="*/ 396 h 904"/>
                <a:gd name="T34" fmla="*/ 532 w 702"/>
                <a:gd name="T35" fmla="*/ 393 h 904"/>
                <a:gd name="T36" fmla="*/ 542 w 702"/>
                <a:gd name="T37" fmla="*/ 410 h 904"/>
                <a:gd name="T38" fmla="*/ 527 w 702"/>
                <a:gd name="T39" fmla="*/ 422 h 904"/>
                <a:gd name="T40" fmla="*/ 394 w 702"/>
                <a:gd name="T41" fmla="*/ 476 h 904"/>
                <a:gd name="T42" fmla="*/ 396 w 702"/>
                <a:gd name="T43" fmla="*/ 456 h 904"/>
                <a:gd name="T44" fmla="*/ 532 w 702"/>
                <a:gd name="T45" fmla="*/ 453 h 904"/>
                <a:gd name="T46" fmla="*/ 542 w 702"/>
                <a:gd name="T47" fmla="*/ 470 h 904"/>
                <a:gd name="T48" fmla="*/ 527 w 702"/>
                <a:gd name="T49" fmla="*/ 482 h 904"/>
                <a:gd name="T50" fmla="*/ 125 w 702"/>
                <a:gd name="T51" fmla="*/ 538 h 904"/>
                <a:gd name="T52" fmla="*/ 123 w 702"/>
                <a:gd name="T53" fmla="*/ 519 h 904"/>
                <a:gd name="T54" fmla="*/ 530 w 702"/>
                <a:gd name="T55" fmla="*/ 512 h 904"/>
                <a:gd name="T56" fmla="*/ 542 w 702"/>
                <a:gd name="T57" fmla="*/ 527 h 904"/>
                <a:gd name="T58" fmla="*/ 530 w 702"/>
                <a:gd name="T59" fmla="*/ 542 h 904"/>
                <a:gd name="T60" fmla="*/ 125 w 702"/>
                <a:gd name="T61" fmla="*/ 598 h 904"/>
                <a:gd name="T62" fmla="*/ 123 w 702"/>
                <a:gd name="T63" fmla="*/ 579 h 904"/>
                <a:gd name="T64" fmla="*/ 530 w 702"/>
                <a:gd name="T65" fmla="*/ 572 h 904"/>
                <a:gd name="T66" fmla="*/ 542 w 702"/>
                <a:gd name="T67" fmla="*/ 587 h 904"/>
                <a:gd name="T68" fmla="*/ 530 w 702"/>
                <a:gd name="T69" fmla="*/ 602 h 904"/>
                <a:gd name="T70" fmla="*/ 125 w 702"/>
                <a:gd name="T71" fmla="*/ 658 h 904"/>
                <a:gd name="T72" fmla="*/ 123 w 702"/>
                <a:gd name="T73" fmla="*/ 639 h 904"/>
                <a:gd name="T74" fmla="*/ 530 w 702"/>
                <a:gd name="T75" fmla="*/ 633 h 904"/>
                <a:gd name="T76" fmla="*/ 542 w 702"/>
                <a:gd name="T77" fmla="*/ 647 h 904"/>
                <a:gd name="T78" fmla="*/ 530 w 702"/>
                <a:gd name="T79" fmla="*/ 662 h 904"/>
                <a:gd name="T80" fmla="*/ 125 w 702"/>
                <a:gd name="T81" fmla="*/ 718 h 904"/>
                <a:gd name="T82" fmla="*/ 123 w 702"/>
                <a:gd name="T83" fmla="*/ 700 h 904"/>
                <a:gd name="T84" fmla="*/ 530 w 702"/>
                <a:gd name="T85" fmla="*/ 693 h 904"/>
                <a:gd name="T86" fmla="*/ 542 w 702"/>
                <a:gd name="T87" fmla="*/ 707 h 904"/>
                <a:gd name="T88" fmla="*/ 530 w 702"/>
                <a:gd name="T89" fmla="*/ 722 h 904"/>
                <a:gd name="T90" fmla="*/ 127 w 702"/>
                <a:gd name="T91" fmla="*/ 214 h 904"/>
                <a:gd name="T92" fmla="*/ 354 w 702"/>
                <a:gd name="T93" fmla="*/ 214 h 904"/>
                <a:gd name="T94" fmla="*/ 361 w 702"/>
                <a:gd name="T95" fmla="*/ 470 h 904"/>
                <a:gd name="T96" fmla="*/ 346 w 702"/>
                <a:gd name="T97" fmla="*/ 482 h 904"/>
                <a:gd name="T98" fmla="*/ 122 w 702"/>
                <a:gd name="T99" fmla="*/ 472 h 904"/>
                <a:gd name="T100" fmla="*/ 15 w 702"/>
                <a:gd name="T101" fmla="*/ 0 h 904"/>
                <a:gd name="T102" fmla="*/ 0 w 702"/>
                <a:gd name="T103" fmla="*/ 12 h 904"/>
                <a:gd name="T104" fmla="*/ 14 w 702"/>
                <a:gd name="T105" fmla="*/ 836 h 904"/>
                <a:gd name="T106" fmla="*/ 79 w 702"/>
                <a:gd name="T107" fmla="*/ 894 h 904"/>
                <a:gd name="T108" fmla="*/ 681 w 702"/>
                <a:gd name="T109" fmla="*/ 882 h 904"/>
                <a:gd name="T110" fmla="*/ 650 w 702"/>
                <a:gd name="T111" fmla="*/ 805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2" h="904">
                  <a:moveTo>
                    <a:pt x="527" y="151"/>
                  </a:moveTo>
                  <a:lnTo>
                    <a:pt x="135" y="151"/>
                  </a:lnTo>
                  <a:lnTo>
                    <a:pt x="132" y="151"/>
                  </a:lnTo>
                  <a:lnTo>
                    <a:pt x="130" y="150"/>
                  </a:lnTo>
                  <a:lnTo>
                    <a:pt x="127" y="148"/>
                  </a:lnTo>
                  <a:lnTo>
                    <a:pt x="125" y="146"/>
                  </a:lnTo>
                  <a:lnTo>
                    <a:pt x="123" y="144"/>
                  </a:lnTo>
                  <a:lnTo>
                    <a:pt x="122" y="142"/>
                  </a:lnTo>
                  <a:lnTo>
                    <a:pt x="120" y="139"/>
                  </a:lnTo>
                  <a:lnTo>
                    <a:pt x="120" y="136"/>
                  </a:lnTo>
                  <a:lnTo>
                    <a:pt x="120" y="132"/>
                  </a:lnTo>
                  <a:lnTo>
                    <a:pt x="122" y="130"/>
                  </a:lnTo>
                  <a:lnTo>
                    <a:pt x="123" y="127"/>
                  </a:lnTo>
                  <a:lnTo>
                    <a:pt x="125" y="125"/>
                  </a:lnTo>
                  <a:lnTo>
                    <a:pt x="127" y="123"/>
                  </a:lnTo>
                  <a:lnTo>
                    <a:pt x="129" y="122"/>
                  </a:lnTo>
                  <a:lnTo>
                    <a:pt x="132" y="121"/>
                  </a:lnTo>
                  <a:lnTo>
                    <a:pt x="135" y="121"/>
                  </a:lnTo>
                  <a:lnTo>
                    <a:pt x="527" y="121"/>
                  </a:lnTo>
                  <a:lnTo>
                    <a:pt x="530" y="121"/>
                  </a:lnTo>
                  <a:lnTo>
                    <a:pt x="532" y="122"/>
                  </a:lnTo>
                  <a:lnTo>
                    <a:pt x="536" y="123"/>
                  </a:lnTo>
                  <a:lnTo>
                    <a:pt x="538" y="125"/>
                  </a:lnTo>
                  <a:lnTo>
                    <a:pt x="539" y="127"/>
                  </a:lnTo>
                  <a:lnTo>
                    <a:pt x="541" y="130"/>
                  </a:lnTo>
                  <a:lnTo>
                    <a:pt x="542" y="132"/>
                  </a:lnTo>
                  <a:lnTo>
                    <a:pt x="542" y="136"/>
                  </a:lnTo>
                  <a:lnTo>
                    <a:pt x="542" y="139"/>
                  </a:lnTo>
                  <a:lnTo>
                    <a:pt x="541" y="142"/>
                  </a:lnTo>
                  <a:lnTo>
                    <a:pt x="539" y="144"/>
                  </a:lnTo>
                  <a:lnTo>
                    <a:pt x="538" y="146"/>
                  </a:lnTo>
                  <a:lnTo>
                    <a:pt x="536" y="148"/>
                  </a:lnTo>
                  <a:lnTo>
                    <a:pt x="532" y="150"/>
                  </a:lnTo>
                  <a:lnTo>
                    <a:pt x="530" y="151"/>
                  </a:lnTo>
                  <a:lnTo>
                    <a:pt x="527" y="151"/>
                  </a:lnTo>
                  <a:close/>
                  <a:moveTo>
                    <a:pt x="527" y="301"/>
                  </a:moveTo>
                  <a:lnTo>
                    <a:pt x="437" y="301"/>
                  </a:lnTo>
                  <a:lnTo>
                    <a:pt x="434" y="301"/>
                  </a:lnTo>
                  <a:lnTo>
                    <a:pt x="430" y="300"/>
                  </a:lnTo>
                  <a:lnTo>
                    <a:pt x="428" y="299"/>
                  </a:lnTo>
                  <a:lnTo>
                    <a:pt x="426" y="296"/>
                  </a:lnTo>
                  <a:lnTo>
                    <a:pt x="424" y="294"/>
                  </a:lnTo>
                  <a:lnTo>
                    <a:pt x="423" y="292"/>
                  </a:lnTo>
                  <a:lnTo>
                    <a:pt x="422" y="289"/>
                  </a:lnTo>
                  <a:lnTo>
                    <a:pt x="422" y="286"/>
                  </a:lnTo>
                  <a:lnTo>
                    <a:pt x="422" y="284"/>
                  </a:lnTo>
                  <a:lnTo>
                    <a:pt x="423" y="280"/>
                  </a:lnTo>
                  <a:lnTo>
                    <a:pt x="424" y="278"/>
                  </a:lnTo>
                  <a:lnTo>
                    <a:pt x="426" y="276"/>
                  </a:lnTo>
                  <a:lnTo>
                    <a:pt x="428" y="274"/>
                  </a:lnTo>
                  <a:lnTo>
                    <a:pt x="430" y="273"/>
                  </a:lnTo>
                  <a:lnTo>
                    <a:pt x="434" y="272"/>
                  </a:lnTo>
                  <a:lnTo>
                    <a:pt x="437" y="271"/>
                  </a:lnTo>
                  <a:lnTo>
                    <a:pt x="527" y="271"/>
                  </a:lnTo>
                  <a:lnTo>
                    <a:pt x="530" y="272"/>
                  </a:lnTo>
                  <a:lnTo>
                    <a:pt x="532" y="272"/>
                  </a:lnTo>
                  <a:lnTo>
                    <a:pt x="536" y="274"/>
                  </a:lnTo>
                  <a:lnTo>
                    <a:pt x="538" y="276"/>
                  </a:lnTo>
                  <a:lnTo>
                    <a:pt x="539" y="278"/>
                  </a:lnTo>
                  <a:lnTo>
                    <a:pt x="541" y="280"/>
                  </a:lnTo>
                  <a:lnTo>
                    <a:pt x="542" y="284"/>
                  </a:lnTo>
                  <a:lnTo>
                    <a:pt x="542" y="286"/>
                  </a:lnTo>
                  <a:lnTo>
                    <a:pt x="542" y="289"/>
                  </a:lnTo>
                  <a:lnTo>
                    <a:pt x="541" y="292"/>
                  </a:lnTo>
                  <a:lnTo>
                    <a:pt x="539" y="294"/>
                  </a:lnTo>
                  <a:lnTo>
                    <a:pt x="538" y="296"/>
                  </a:lnTo>
                  <a:lnTo>
                    <a:pt x="536" y="299"/>
                  </a:lnTo>
                  <a:lnTo>
                    <a:pt x="532" y="300"/>
                  </a:lnTo>
                  <a:lnTo>
                    <a:pt x="530" y="301"/>
                  </a:lnTo>
                  <a:lnTo>
                    <a:pt x="527" y="301"/>
                  </a:lnTo>
                  <a:close/>
                  <a:moveTo>
                    <a:pt x="527" y="362"/>
                  </a:moveTo>
                  <a:lnTo>
                    <a:pt x="407" y="362"/>
                  </a:lnTo>
                  <a:lnTo>
                    <a:pt x="404" y="361"/>
                  </a:lnTo>
                  <a:lnTo>
                    <a:pt x="400" y="361"/>
                  </a:lnTo>
                  <a:lnTo>
                    <a:pt x="398" y="359"/>
                  </a:lnTo>
                  <a:lnTo>
                    <a:pt x="396" y="357"/>
                  </a:lnTo>
                  <a:lnTo>
                    <a:pt x="394" y="354"/>
                  </a:lnTo>
                  <a:lnTo>
                    <a:pt x="393" y="352"/>
                  </a:lnTo>
                  <a:lnTo>
                    <a:pt x="392" y="349"/>
                  </a:lnTo>
                  <a:lnTo>
                    <a:pt x="392" y="347"/>
                  </a:lnTo>
                  <a:lnTo>
                    <a:pt x="392" y="344"/>
                  </a:lnTo>
                  <a:lnTo>
                    <a:pt x="393" y="340"/>
                  </a:lnTo>
                  <a:lnTo>
                    <a:pt x="394" y="338"/>
                  </a:lnTo>
                  <a:lnTo>
                    <a:pt x="396" y="336"/>
                  </a:lnTo>
                  <a:lnTo>
                    <a:pt x="398" y="334"/>
                  </a:lnTo>
                  <a:lnTo>
                    <a:pt x="400" y="333"/>
                  </a:lnTo>
                  <a:lnTo>
                    <a:pt x="404" y="332"/>
                  </a:lnTo>
                  <a:lnTo>
                    <a:pt x="407" y="332"/>
                  </a:lnTo>
                  <a:lnTo>
                    <a:pt x="527" y="332"/>
                  </a:lnTo>
                  <a:lnTo>
                    <a:pt x="530" y="332"/>
                  </a:lnTo>
                  <a:lnTo>
                    <a:pt x="532" y="333"/>
                  </a:lnTo>
                  <a:lnTo>
                    <a:pt x="536" y="334"/>
                  </a:lnTo>
                  <a:lnTo>
                    <a:pt x="538" y="336"/>
                  </a:lnTo>
                  <a:lnTo>
                    <a:pt x="539" y="338"/>
                  </a:lnTo>
                  <a:lnTo>
                    <a:pt x="541" y="340"/>
                  </a:lnTo>
                  <a:lnTo>
                    <a:pt x="542" y="344"/>
                  </a:lnTo>
                  <a:lnTo>
                    <a:pt x="542" y="347"/>
                  </a:lnTo>
                  <a:lnTo>
                    <a:pt x="542" y="349"/>
                  </a:lnTo>
                  <a:lnTo>
                    <a:pt x="541" y="352"/>
                  </a:lnTo>
                  <a:lnTo>
                    <a:pt x="539" y="354"/>
                  </a:lnTo>
                  <a:lnTo>
                    <a:pt x="538" y="357"/>
                  </a:lnTo>
                  <a:lnTo>
                    <a:pt x="536" y="359"/>
                  </a:lnTo>
                  <a:lnTo>
                    <a:pt x="532" y="361"/>
                  </a:lnTo>
                  <a:lnTo>
                    <a:pt x="530" y="361"/>
                  </a:lnTo>
                  <a:lnTo>
                    <a:pt x="527" y="362"/>
                  </a:lnTo>
                  <a:close/>
                  <a:moveTo>
                    <a:pt x="527" y="422"/>
                  </a:moveTo>
                  <a:lnTo>
                    <a:pt x="407" y="422"/>
                  </a:lnTo>
                  <a:lnTo>
                    <a:pt x="404" y="421"/>
                  </a:lnTo>
                  <a:lnTo>
                    <a:pt x="400" y="421"/>
                  </a:lnTo>
                  <a:lnTo>
                    <a:pt x="398" y="419"/>
                  </a:lnTo>
                  <a:lnTo>
                    <a:pt x="396" y="418"/>
                  </a:lnTo>
                  <a:lnTo>
                    <a:pt x="394" y="416"/>
                  </a:lnTo>
                  <a:lnTo>
                    <a:pt x="393" y="412"/>
                  </a:lnTo>
                  <a:lnTo>
                    <a:pt x="392" y="410"/>
                  </a:lnTo>
                  <a:lnTo>
                    <a:pt x="392" y="407"/>
                  </a:lnTo>
                  <a:lnTo>
                    <a:pt x="392" y="404"/>
                  </a:lnTo>
                  <a:lnTo>
                    <a:pt x="393" y="401"/>
                  </a:lnTo>
                  <a:lnTo>
                    <a:pt x="394" y="398"/>
                  </a:lnTo>
                  <a:lnTo>
                    <a:pt x="396" y="396"/>
                  </a:lnTo>
                  <a:lnTo>
                    <a:pt x="398" y="394"/>
                  </a:lnTo>
                  <a:lnTo>
                    <a:pt x="400" y="393"/>
                  </a:lnTo>
                  <a:lnTo>
                    <a:pt x="404" y="392"/>
                  </a:lnTo>
                  <a:lnTo>
                    <a:pt x="407" y="392"/>
                  </a:lnTo>
                  <a:lnTo>
                    <a:pt x="527" y="392"/>
                  </a:lnTo>
                  <a:lnTo>
                    <a:pt x="530" y="392"/>
                  </a:lnTo>
                  <a:lnTo>
                    <a:pt x="532" y="393"/>
                  </a:lnTo>
                  <a:lnTo>
                    <a:pt x="536" y="394"/>
                  </a:lnTo>
                  <a:lnTo>
                    <a:pt x="538" y="396"/>
                  </a:lnTo>
                  <a:lnTo>
                    <a:pt x="539" y="398"/>
                  </a:lnTo>
                  <a:lnTo>
                    <a:pt x="541" y="401"/>
                  </a:lnTo>
                  <a:lnTo>
                    <a:pt x="542" y="404"/>
                  </a:lnTo>
                  <a:lnTo>
                    <a:pt x="542" y="407"/>
                  </a:lnTo>
                  <a:lnTo>
                    <a:pt x="542" y="410"/>
                  </a:lnTo>
                  <a:lnTo>
                    <a:pt x="541" y="412"/>
                  </a:lnTo>
                  <a:lnTo>
                    <a:pt x="539" y="416"/>
                  </a:lnTo>
                  <a:lnTo>
                    <a:pt x="538" y="418"/>
                  </a:lnTo>
                  <a:lnTo>
                    <a:pt x="536" y="419"/>
                  </a:lnTo>
                  <a:lnTo>
                    <a:pt x="532" y="421"/>
                  </a:lnTo>
                  <a:lnTo>
                    <a:pt x="530" y="421"/>
                  </a:lnTo>
                  <a:lnTo>
                    <a:pt x="527" y="422"/>
                  </a:lnTo>
                  <a:close/>
                  <a:moveTo>
                    <a:pt x="527" y="482"/>
                  </a:moveTo>
                  <a:lnTo>
                    <a:pt x="407" y="482"/>
                  </a:lnTo>
                  <a:lnTo>
                    <a:pt x="404" y="482"/>
                  </a:lnTo>
                  <a:lnTo>
                    <a:pt x="400" y="481"/>
                  </a:lnTo>
                  <a:lnTo>
                    <a:pt x="398" y="479"/>
                  </a:lnTo>
                  <a:lnTo>
                    <a:pt x="396" y="478"/>
                  </a:lnTo>
                  <a:lnTo>
                    <a:pt x="394" y="476"/>
                  </a:lnTo>
                  <a:lnTo>
                    <a:pt x="393" y="472"/>
                  </a:lnTo>
                  <a:lnTo>
                    <a:pt x="392" y="470"/>
                  </a:lnTo>
                  <a:lnTo>
                    <a:pt x="392" y="467"/>
                  </a:lnTo>
                  <a:lnTo>
                    <a:pt x="392" y="464"/>
                  </a:lnTo>
                  <a:lnTo>
                    <a:pt x="393" y="461"/>
                  </a:lnTo>
                  <a:lnTo>
                    <a:pt x="394" y="458"/>
                  </a:lnTo>
                  <a:lnTo>
                    <a:pt x="396" y="456"/>
                  </a:lnTo>
                  <a:lnTo>
                    <a:pt x="398" y="454"/>
                  </a:lnTo>
                  <a:lnTo>
                    <a:pt x="400" y="453"/>
                  </a:lnTo>
                  <a:lnTo>
                    <a:pt x="404" y="452"/>
                  </a:lnTo>
                  <a:lnTo>
                    <a:pt x="407" y="452"/>
                  </a:lnTo>
                  <a:lnTo>
                    <a:pt x="527" y="452"/>
                  </a:lnTo>
                  <a:lnTo>
                    <a:pt x="530" y="452"/>
                  </a:lnTo>
                  <a:lnTo>
                    <a:pt x="532" y="453"/>
                  </a:lnTo>
                  <a:lnTo>
                    <a:pt x="536" y="454"/>
                  </a:lnTo>
                  <a:lnTo>
                    <a:pt x="538" y="456"/>
                  </a:lnTo>
                  <a:lnTo>
                    <a:pt x="539" y="458"/>
                  </a:lnTo>
                  <a:lnTo>
                    <a:pt x="541" y="461"/>
                  </a:lnTo>
                  <a:lnTo>
                    <a:pt x="542" y="464"/>
                  </a:lnTo>
                  <a:lnTo>
                    <a:pt x="542" y="467"/>
                  </a:lnTo>
                  <a:lnTo>
                    <a:pt x="542" y="470"/>
                  </a:lnTo>
                  <a:lnTo>
                    <a:pt x="541" y="472"/>
                  </a:lnTo>
                  <a:lnTo>
                    <a:pt x="539" y="476"/>
                  </a:lnTo>
                  <a:lnTo>
                    <a:pt x="538" y="478"/>
                  </a:lnTo>
                  <a:lnTo>
                    <a:pt x="536" y="479"/>
                  </a:lnTo>
                  <a:lnTo>
                    <a:pt x="532" y="481"/>
                  </a:lnTo>
                  <a:lnTo>
                    <a:pt x="530" y="482"/>
                  </a:lnTo>
                  <a:lnTo>
                    <a:pt x="527" y="482"/>
                  </a:lnTo>
                  <a:lnTo>
                    <a:pt x="527" y="482"/>
                  </a:lnTo>
                  <a:close/>
                  <a:moveTo>
                    <a:pt x="527" y="542"/>
                  </a:moveTo>
                  <a:lnTo>
                    <a:pt x="135" y="542"/>
                  </a:lnTo>
                  <a:lnTo>
                    <a:pt x="132" y="542"/>
                  </a:lnTo>
                  <a:lnTo>
                    <a:pt x="130" y="541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6"/>
                  </a:lnTo>
                  <a:lnTo>
                    <a:pt x="122" y="532"/>
                  </a:lnTo>
                  <a:lnTo>
                    <a:pt x="120" y="530"/>
                  </a:lnTo>
                  <a:lnTo>
                    <a:pt x="120" y="527"/>
                  </a:lnTo>
                  <a:lnTo>
                    <a:pt x="120" y="524"/>
                  </a:lnTo>
                  <a:lnTo>
                    <a:pt x="122" y="522"/>
                  </a:lnTo>
                  <a:lnTo>
                    <a:pt x="123" y="519"/>
                  </a:lnTo>
                  <a:lnTo>
                    <a:pt x="125" y="516"/>
                  </a:lnTo>
                  <a:lnTo>
                    <a:pt x="127" y="514"/>
                  </a:lnTo>
                  <a:lnTo>
                    <a:pt x="129" y="513"/>
                  </a:lnTo>
                  <a:lnTo>
                    <a:pt x="132" y="512"/>
                  </a:lnTo>
                  <a:lnTo>
                    <a:pt x="135" y="512"/>
                  </a:lnTo>
                  <a:lnTo>
                    <a:pt x="527" y="512"/>
                  </a:lnTo>
                  <a:lnTo>
                    <a:pt x="530" y="512"/>
                  </a:lnTo>
                  <a:lnTo>
                    <a:pt x="532" y="513"/>
                  </a:lnTo>
                  <a:lnTo>
                    <a:pt x="536" y="514"/>
                  </a:lnTo>
                  <a:lnTo>
                    <a:pt x="538" y="516"/>
                  </a:lnTo>
                  <a:lnTo>
                    <a:pt x="539" y="519"/>
                  </a:lnTo>
                  <a:lnTo>
                    <a:pt x="541" y="522"/>
                  </a:lnTo>
                  <a:lnTo>
                    <a:pt x="542" y="524"/>
                  </a:lnTo>
                  <a:lnTo>
                    <a:pt x="542" y="527"/>
                  </a:lnTo>
                  <a:lnTo>
                    <a:pt x="542" y="530"/>
                  </a:lnTo>
                  <a:lnTo>
                    <a:pt x="541" y="532"/>
                  </a:lnTo>
                  <a:lnTo>
                    <a:pt x="539" y="536"/>
                  </a:lnTo>
                  <a:lnTo>
                    <a:pt x="538" y="538"/>
                  </a:lnTo>
                  <a:lnTo>
                    <a:pt x="536" y="540"/>
                  </a:lnTo>
                  <a:lnTo>
                    <a:pt x="532" y="541"/>
                  </a:lnTo>
                  <a:lnTo>
                    <a:pt x="530" y="542"/>
                  </a:lnTo>
                  <a:lnTo>
                    <a:pt x="527" y="542"/>
                  </a:lnTo>
                  <a:close/>
                  <a:moveTo>
                    <a:pt x="527" y="602"/>
                  </a:moveTo>
                  <a:lnTo>
                    <a:pt x="135" y="602"/>
                  </a:lnTo>
                  <a:lnTo>
                    <a:pt x="132" y="602"/>
                  </a:lnTo>
                  <a:lnTo>
                    <a:pt x="130" y="601"/>
                  </a:lnTo>
                  <a:lnTo>
                    <a:pt x="127" y="600"/>
                  </a:lnTo>
                  <a:lnTo>
                    <a:pt x="125" y="598"/>
                  </a:lnTo>
                  <a:lnTo>
                    <a:pt x="123" y="596"/>
                  </a:lnTo>
                  <a:lnTo>
                    <a:pt x="122" y="594"/>
                  </a:lnTo>
                  <a:lnTo>
                    <a:pt x="120" y="590"/>
                  </a:lnTo>
                  <a:lnTo>
                    <a:pt x="120" y="587"/>
                  </a:lnTo>
                  <a:lnTo>
                    <a:pt x="120" y="584"/>
                  </a:lnTo>
                  <a:lnTo>
                    <a:pt x="122" y="582"/>
                  </a:lnTo>
                  <a:lnTo>
                    <a:pt x="123" y="579"/>
                  </a:lnTo>
                  <a:lnTo>
                    <a:pt x="125" y="576"/>
                  </a:lnTo>
                  <a:lnTo>
                    <a:pt x="127" y="575"/>
                  </a:lnTo>
                  <a:lnTo>
                    <a:pt x="129" y="573"/>
                  </a:lnTo>
                  <a:lnTo>
                    <a:pt x="132" y="572"/>
                  </a:lnTo>
                  <a:lnTo>
                    <a:pt x="135" y="572"/>
                  </a:lnTo>
                  <a:lnTo>
                    <a:pt x="527" y="572"/>
                  </a:lnTo>
                  <a:lnTo>
                    <a:pt x="530" y="572"/>
                  </a:lnTo>
                  <a:lnTo>
                    <a:pt x="532" y="573"/>
                  </a:lnTo>
                  <a:lnTo>
                    <a:pt x="536" y="575"/>
                  </a:lnTo>
                  <a:lnTo>
                    <a:pt x="538" y="576"/>
                  </a:lnTo>
                  <a:lnTo>
                    <a:pt x="539" y="579"/>
                  </a:lnTo>
                  <a:lnTo>
                    <a:pt x="541" y="582"/>
                  </a:lnTo>
                  <a:lnTo>
                    <a:pt x="542" y="584"/>
                  </a:lnTo>
                  <a:lnTo>
                    <a:pt x="542" y="587"/>
                  </a:lnTo>
                  <a:lnTo>
                    <a:pt x="542" y="590"/>
                  </a:lnTo>
                  <a:lnTo>
                    <a:pt x="541" y="594"/>
                  </a:lnTo>
                  <a:lnTo>
                    <a:pt x="539" y="596"/>
                  </a:lnTo>
                  <a:lnTo>
                    <a:pt x="538" y="598"/>
                  </a:lnTo>
                  <a:lnTo>
                    <a:pt x="536" y="600"/>
                  </a:lnTo>
                  <a:lnTo>
                    <a:pt x="532" y="601"/>
                  </a:lnTo>
                  <a:lnTo>
                    <a:pt x="530" y="602"/>
                  </a:lnTo>
                  <a:lnTo>
                    <a:pt x="527" y="602"/>
                  </a:lnTo>
                  <a:close/>
                  <a:moveTo>
                    <a:pt x="527" y="662"/>
                  </a:moveTo>
                  <a:lnTo>
                    <a:pt x="135" y="662"/>
                  </a:lnTo>
                  <a:lnTo>
                    <a:pt x="132" y="662"/>
                  </a:lnTo>
                  <a:lnTo>
                    <a:pt x="130" y="661"/>
                  </a:lnTo>
                  <a:lnTo>
                    <a:pt x="127" y="660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2" y="654"/>
                  </a:lnTo>
                  <a:lnTo>
                    <a:pt x="120" y="650"/>
                  </a:lnTo>
                  <a:lnTo>
                    <a:pt x="120" y="647"/>
                  </a:lnTo>
                  <a:lnTo>
                    <a:pt x="120" y="644"/>
                  </a:lnTo>
                  <a:lnTo>
                    <a:pt x="122" y="642"/>
                  </a:lnTo>
                  <a:lnTo>
                    <a:pt x="123" y="639"/>
                  </a:lnTo>
                  <a:lnTo>
                    <a:pt x="125" y="637"/>
                  </a:lnTo>
                  <a:lnTo>
                    <a:pt x="127" y="635"/>
                  </a:lnTo>
                  <a:lnTo>
                    <a:pt x="129" y="633"/>
                  </a:lnTo>
                  <a:lnTo>
                    <a:pt x="132" y="633"/>
                  </a:lnTo>
                  <a:lnTo>
                    <a:pt x="135" y="632"/>
                  </a:lnTo>
                  <a:lnTo>
                    <a:pt x="527" y="632"/>
                  </a:lnTo>
                  <a:lnTo>
                    <a:pt x="530" y="633"/>
                  </a:lnTo>
                  <a:lnTo>
                    <a:pt x="532" y="633"/>
                  </a:lnTo>
                  <a:lnTo>
                    <a:pt x="536" y="635"/>
                  </a:lnTo>
                  <a:lnTo>
                    <a:pt x="538" y="637"/>
                  </a:lnTo>
                  <a:lnTo>
                    <a:pt x="539" y="639"/>
                  </a:lnTo>
                  <a:lnTo>
                    <a:pt x="541" y="642"/>
                  </a:lnTo>
                  <a:lnTo>
                    <a:pt x="542" y="644"/>
                  </a:lnTo>
                  <a:lnTo>
                    <a:pt x="542" y="647"/>
                  </a:lnTo>
                  <a:lnTo>
                    <a:pt x="542" y="650"/>
                  </a:lnTo>
                  <a:lnTo>
                    <a:pt x="541" y="654"/>
                  </a:lnTo>
                  <a:lnTo>
                    <a:pt x="539" y="656"/>
                  </a:lnTo>
                  <a:lnTo>
                    <a:pt x="538" y="658"/>
                  </a:lnTo>
                  <a:lnTo>
                    <a:pt x="536" y="660"/>
                  </a:lnTo>
                  <a:lnTo>
                    <a:pt x="532" y="661"/>
                  </a:lnTo>
                  <a:lnTo>
                    <a:pt x="530" y="662"/>
                  </a:lnTo>
                  <a:lnTo>
                    <a:pt x="527" y="662"/>
                  </a:lnTo>
                  <a:close/>
                  <a:moveTo>
                    <a:pt x="527" y="722"/>
                  </a:moveTo>
                  <a:lnTo>
                    <a:pt x="135" y="722"/>
                  </a:lnTo>
                  <a:lnTo>
                    <a:pt x="132" y="722"/>
                  </a:lnTo>
                  <a:lnTo>
                    <a:pt x="130" y="721"/>
                  </a:lnTo>
                  <a:lnTo>
                    <a:pt x="127" y="720"/>
                  </a:lnTo>
                  <a:lnTo>
                    <a:pt x="125" y="718"/>
                  </a:lnTo>
                  <a:lnTo>
                    <a:pt x="123" y="716"/>
                  </a:lnTo>
                  <a:lnTo>
                    <a:pt x="122" y="714"/>
                  </a:lnTo>
                  <a:lnTo>
                    <a:pt x="120" y="711"/>
                  </a:lnTo>
                  <a:lnTo>
                    <a:pt x="120" y="707"/>
                  </a:lnTo>
                  <a:lnTo>
                    <a:pt x="120" y="705"/>
                  </a:lnTo>
                  <a:lnTo>
                    <a:pt x="122" y="702"/>
                  </a:lnTo>
                  <a:lnTo>
                    <a:pt x="123" y="700"/>
                  </a:lnTo>
                  <a:lnTo>
                    <a:pt x="125" y="698"/>
                  </a:lnTo>
                  <a:lnTo>
                    <a:pt x="127" y="696"/>
                  </a:lnTo>
                  <a:lnTo>
                    <a:pt x="129" y="694"/>
                  </a:lnTo>
                  <a:lnTo>
                    <a:pt x="132" y="693"/>
                  </a:lnTo>
                  <a:lnTo>
                    <a:pt x="135" y="692"/>
                  </a:lnTo>
                  <a:lnTo>
                    <a:pt x="527" y="692"/>
                  </a:lnTo>
                  <a:lnTo>
                    <a:pt x="530" y="693"/>
                  </a:lnTo>
                  <a:lnTo>
                    <a:pt x="532" y="694"/>
                  </a:lnTo>
                  <a:lnTo>
                    <a:pt x="536" y="696"/>
                  </a:lnTo>
                  <a:lnTo>
                    <a:pt x="538" y="698"/>
                  </a:lnTo>
                  <a:lnTo>
                    <a:pt x="539" y="700"/>
                  </a:lnTo>
                  <a:lnTo>
                    <a:pt x="541" y="702"/>
                  </a:lnTo>
                  <a:lnTo>
                    <a:pt x="542" y="705"/>
                  </a:lnTo>
                  <a:lnTo>
                    <a:pt x="542" y="707"/>
                  </a:lnTo>
                  <a:lnTo>
                    <a:pt x="542" y="711"/>
                  </a:lnTo>
                  <a:lnTo>
                    <a:pt x="541" y="714"/>
                  </a:lnTo>
                  <a:lnTo>
                    <a:pt x="539" y="716"/>
                  </a:lnTo>
                  <a:lnTo>
                    <a:pt x="538" y="718"/>
                  </a:lnTo>
                  <a:lnTo>
                    <a:pt x="536" y="720"/>
                  </a:lnTo>
                  <a:lnTo>
                    <a:pt x="532" y="721"/>
                  </a:lnTo>
                  <a:lnTo>
                    <a:pt x="530" y="722"/>
                  </a:lnTo>
                  <a:lnTo>
                    <a:pt x="527" y="722"/>
                  </a:lnTo>
                  <a:close/>
                  <a:moveTo>
                    <a:pt x="120" y="226"/>
                  </a:moveTo>
                  <a:lnTo>
                    <a:pt x="120" y="222"/>
                  </a:lnTo>
                  <a:lnTo>
                    <a:pt x="122" y="220"/>
                  </a:lnTo>
                  <a:lnTo>
                    <a:pt x="123" y="217"/>
                  </a:lnTo>
                  <a:lnTo>
                    <a:pt x="125" y="215"/>
                  </a:lnTo>
                  <a:lnTo>
                    <a:pt x="127" y="214"/>
                  </a:lnTo>
                  <a:lnTo>
                    <a:pt x="129" y="212"/>
                  </a:lnTo>
                  <a:lnTo>
                    <a:pt x="132" y="212"/>
                  </a:lnTo>
                  <a:lnTo>
                    <a:pt x="135" y="211"/>
                  </a:lnTo>
                  <a:lnTo>
                    <a:pt x="346" y="211"/>
                  </a:lnTo>
                  <a:lnTo>
                    <a:pt x="349" y="212"/>
                  </a:lnTo>
                  <a:lnTo>
                    <a:pt x="352" y="212"/>
                  </a:lnTo>
                  <a:lnTo>
                    <a:pt x="354" y="214"/>
                  </a:lnTo>
                  <a:lnTo>
                    <a:pt x="356" y="215"/>
                  </a:lnTo>
                  <a:lnTo>
                    <a:pt x="359" y="217"/>
                  </a:lnTo>
                  <a:lnTo>
                    <a:pt x="360" y="220"/>
                  </a:lnTo>
                  <a:lnTo>
                    <a:pt x="361" y="222"/>
                  </a:lnTo>
                  <a:lnTo>
                    <a:pt x="361" y="226"/>
                  </a:lnTo>
                  <a:lnTo>
                    <a:pt x="361" y="467"/>
                  </a:lnTo>
                  <a:lnTo>
                    <a:pt x="361" y="470"/>
                  </a:lnTo>
                  <a:lnTo>
                    <a:pt x="360" y="472"/>
                  </a:lnTo>
                  <a:lnTo>
                    <a:pt x="359" y="476"/>
                  </a:lnTo>
                  <a:lnTo>
                    <a:pt x="356" y="478"/>
                  </a:lnTo>
                  <a:lnTo>
                    <a:pt x="354" y="479"/>
                  </a:lnTo>
                  <a:lnTo>
                    <a:pt x="352" y="481"/>
                  </a:lnTo>
                  <a:lnTo>
                    <a:pt x="349" y="482"/>
                  </a:lnTo>
                  <a:lnTo>
                    <a:pt x="346" y="482"/>
                  </a:lnTo>
                  <a:lnTo>
                    <a:pt x="135" y="482"/>
                  </a:lnTo>
                  <a:lnTo>
                    <a:pt x="132" y="482"/>
                  </a:lnTo>
                  <a:lnTo>
                    <a:pt x="130" y="481"/>
                  </a:lnTo>
                  <a:lnTo>
                    <a:pt x="127" y="479"/>
                  </a:lnTo>
                  <a:lnTo>
                    <a:pt x="125" y="478"/>
                  </a:lnTo>
                  <a:lnTo>
                    <a:pt x="123" y="476"/>
                  </a:lnTo>
                  <a:lnTo>
                    <a:pt x="122" y="472"/>
                  </a:lnTo>
                  <a:lnTo>
                    <a:pt x="120" y="470"/>
                  </a:lnTo>
                  <a:lnTo>
                    <a:pt x="120" y="467"/>
                  </a:lnTo>
                  <a:lnTo>
                    <a:pt x="120" y="226"/>
                  </a:lnTo>
                  <a:close/>
                  <a:moveTo>
                    <a:pt x="647" y="768"/>
                  </a:moveTo>
                  <a:lnTo>
                    <a:pt x="647" y="15"/>
                  </a:lnTo>
                  <a:lnTo>
                    <a:pt x="64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68"/>
                  </a:lnTo>
                  <a:lnTo>
                    <a:pt x="0" y="783"/>
                  </a:lnTo>
                  <a:lnTo>
                    <a:pt x="2" y="797"/>
                  </a:lnTo>
                  <a:lnTo>
                    <a:pt x="6" y="811"/>
                  </a:lnTo>
                  <a:lnTo>
                    <a:pt x="9" y="824"/>
                  </a:lnTo>
                  <a:lnTo>
                    <a:pt x="14" y="836"/>
                  </a:lnTo>
                  <a:lnTo>
                    <a:pt x="21" y="848"/>
                  </a:lnTo>
                  <a:lnTo>
                    <a:pt x="28" y="857"/>
                  </a:lnTo>
                  <a:lnTo>
                    <a:pt x="37" y="867"/>
                  </a:lnTo>
                  <a:lnTo>
                    <a:pt x="45" y="876"/>
                  </a:lnTo>
                  <a:lnTo>
                    <a:pt x="56" y="882"/>
                  </a:lnTo>
                  <a:lnTo>
                    <a:pt x="67" y="889"/>
                  </a:lnTo>
                  <a:lnTo>
                    <a:pt x="79" y="894"/>
                  </a:lnTo>
                  <a:lnTo>
                    <a:pt x="92" y="898"/>
                  </a:lnTo>
                  <a:lnTo>
                    <a:pt x="105" y="901"/>
                  </a:lnTo>
                  <a:lnTo>
                    <a:pt x="120" y="903"/>
                  </a:lnTo>
                  <a:lnTo>
                    <a:pt x="135" y="904"/>
                  </a:lnTo>
                  <a:lnTo>
                    <a:pt x="702" y="904"/>
                  </a:lnTo>
                  <a:lnTo>
                    <a:pt x="691" y="894"/>
                  </a:lnTo>
                  <a:lnTo>
                    <a:pt x="681" y="882"/>
                  </a:lnTo>
                  <a:lnTo>
                    <a:pt x="672" y="869"/>
                  </a:lnTo>
                  <a:lnTo>
                    <a:pt x="664" y="854"/>
                  </a:lnTo>
                  <a:lnTo>
                    <a:pt x="660" y="846"/>
                  </a:lnTo>
                  <a:lnTo>
                    <a:pt x="657" y="836"/>
                  </a:lnTo>
                  <a:lnTo>
                    <a:pt x="655" y="826"/>
                  </a:lnTo>
                  <a:lnTo>
                    <a:pt x="651" y="817"/>
                  </a:lnTo>
                  <a:lnTo>
                    <a:pt x="650" y="805"/>
                  </a:lnTo>
                  <a:lnTo>
                    <a:pt x="648" y="793"/>
                  </a:lnTo>
                  <a:lnTo>
                    <a:pt x="647" y="781"/>
                  </a:lnTo>
                  <a:lnTo>
                    <a:pt x="647" y="7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5" name="Freeform 704"/>
            <p:cNvSpPr>
              <a:spLocks noEditPoints="1"/>
            </p:cNvSpPr>
            <p:nvPr/>
          </p:nvSpPr>
          <p:spPr bwMode="auto">
            <a:xfrm>
              <a:off x="2239963" y="1939925"/>
              <a:ext cx="71438" cy="268288"/>
            </a:xfrm>
            <a:custGeom>
              <a:avLst/>
              <a:gdLst>
                <a:gd name="T0" fmla="*/ 120 w 226"/>
                <a:gd name="T1" fmla="*/ 710 h 843"/>
                <a:gd name="T2" fmla="*/ 118 w 226"/>
                <a:gd name="T3" fmla="*/ 715 h 843"/>
                <a:gd name="T4" fmla="*/ 114 w 226"/>
                <a:gd name="T5" fmla="*/ 719 h 843"/>
                <a:gd name="T6" fmla="*/ 108 w 226"/>
                <a:gd name="T7" fmla="*/ 721 h 843"/>
                <a:gd name="T8" fmla="*/ 103 w 226"/>
                <a:gd name="T9" fmla="*/ 721 h 843"/>
                <a:gd name="T10" fmla="*/ 98 w 226"/>
                <a:gd name="T11" fmla="*/ 719 h 843"/>
                <a:gd name="T12" fmla="*/ 93 w 226"/>
                <a:gd name="T13" fmla="*/ 715 h 843"/>
                <a:gd name="T14" fmla="*/ 91 w 226"/>
                <a:gd name="T15" fmla="*/ 710 h 843"/>
                <a:gd name="T16" fmla="*/ 90 w 226"/>
                <a:gd name="T17" fmla="*/ 165 h 843"/>
                <a:gd name="T18" fmla="*/ 120 w 226"/>
                <a:gd name="T19" fmla="*/ 135 h 843"/>
                <a:gd name="T20" fmla="*/ 211 w 226"/>
                <a:gd name="T21" fmla="*/ 60 h 843"/>
                <a:gd name="T22" fmla="*/ 90 w 226"/>
                <a:gd name="T23" fmla="*/ 15 h 843"/>
                <a:gd name="T24" fmla="*/ 89 w 226"/>
                <a:gd name="T25" fmla="*/ 8 h 843"/>
                <a:gd name="T26" fmla="*/ 86 w 226"/>
                <a:gd name="T27" fmla="*/ 4 h 843"/>
                <a:gd name="T28" fmla="*/ 82 w 226"/>
                <a:gd name="T29" fmla="*/ 1 h 843"/>
                <a:gd name="T30" fmla="*/ 75 w 226"/>
                <a:gd name="T31" fmla="*/ 0 h 843"/>
                <a:gd name="T32" fmla="*/ 12 w 226"/>
                <a:gd name="T33" fmla="*/ 0 h 843"/>
                <a:gd name="T34" fmla="*/ 7 w 226"/>
                <a:gd name="T35" fmla="*/ 2 h 843"/>
                <a:gd name="T36" fmla="*/ 3 w 226"/>
                <a:gd name="T37" fmla="*/ 6 h 843"/>
                <a:gd name="T38" fmla="*/ 0 w 226"/>
                <a:gd name="T39" fmla="*/ 11 h 843"/>
                <a:gd name="T40" fmla="*/ 0 w 226"/>
                <a:gd name="T41" fmla="*/ 707 h 843"/>
                <a:gd name="T42" fmla="*/ 1 w 226"/>
                <a:gd name="T43" fmla="*/ 728 h 843"/>
                <a:gd name="T44" fmla="*/ 1 w 226"/>
                <a:gd name="T45" fmla="*/ 732 h 843"/>
                <a:gd name="T46" fmla="*/ 8 w 226"/>
                <a:gd name="T47" fmla="*/ 762 h 843"/>
                <a:gd name="T48" fmla="*/ 17 w 226"/>
                <a:gd name="T49" fmla="*/ 786 h 843"/>
                <a:gd name="T50" fmla="*/ 29 w 226"/>
                <a:gd name="T51" fmla="*/ 805 h 843"/>
                <a:gd name="T52" fmla="*/ 43 w 226"/>
                <a:gd name="T53" fmla="*/ 819 h 843"/>
                <a:gd name="T54" fmla="*/ 58 w 226"/>
                <a:gd name="T55" fmla="*/ 829 h 843"/>
                <a:gd name="T56" fmla="*/ 72 w 226"/>
                <a:gd name="T57" fmla="*/ 835 h 843"/>
                <a:gd name="T58" fmla="*/ 96 w 226"/>
                <a:gd name="T59" fmla="*/ 842 h 843"/>
                <a:gd name="T60" fmla="*/ 97 w 226"/>
                <a:gd name="T61" fmla="*/ 842 h 843"/>
                <a:gd name="T62" fmla="*/ 113 w 226"/>
                <a:gd name="T63" fmla="*/ 843 h 843"/>
                <a:gd name="T64" fmla="*/ 141 w 226"/>
                <a:gd name="T65" fmla="*/ 839 h 843"/>
                <a:gd name="T66" fmla="*/ 163 w 226"/>
                <a:gd name="T67" fmla="*/ 831 h 843"/>
                <a:gd name="T68" fmla="*/ 183 w 226"/>
                <a:gd name="T69" fmla="*/ 817 h 843"/>
                <a:gd name="T70" fmla="*/ 199 w 226"/>
                <a:gd name="T71" fmla="*/ 800 h 843"/>
                <a:gd name="T72" fmla="*/ 210 w 226"/>
                <a:gd name="T73" fmla="*/ 778 h 843"/>
                <a:gd name="T74" fmla="*/ 219 w 226"/>
                <a:gd name="T75" fmla="*/ 756 h 843"/>
                <a:gd name="T76" fmla="*/ 224 w 226"/>
                <a:gd name="T77" fmla="*/ 731 h 843"/>
                <a:gd name="T78" fmla="*/ 226 w 226"/>
                <a:gd name="T79" fmla="*/ 707 h 843"/>
                <a:gd name="T80" fmla="*/ 225 w 226"/>
                <a:gd name="T81" fmla="*/ 71 h 843"/>
                <a:gd name="T82" fmla="*/ 223 w 226"/>
                <a:gd name="T83" fmla="*/ 66 h 843"/>
                <a:gd name="T84" fmla="*/ 220 w 226"/>
                <a:gd name="T85" fmla="*/ 62 h 843"/>
                <a:gd name="T86" fmla="*/ 215 w 226"/>
                <a:gd name="T87" fmla="*/ 60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6" h="843">
                  <a:moveTo>
                    <a:pt x="120" y="706"/>
                  </a:moveTo>
                  <a:lnTo>
                    <a:pt x="120" y="710"/>
                  </a:lnTo>
                  <a:lnTo>
                    <a:pt x="119" y="713"/>
                  </a:lnTo>
                  <a:lnTo>
                    <a:pt x="118" y="715"/>
                  </a:lnTo>
                  <a:lnTo>
                    <a:pt x="116" y="717"/>
                  </a:lnTo>
                  <a:lnTo>
                    <a:pt x="114" y="719"/>
                  </a:lnTo>
                  <a:lnTo>
                    <a:pt x="112" y="720"/>
                  </a:lnTo>
                  <a:lnTo>
                    <a:pt x="108" y="721"/>
                  </a:lnTo>
                  <a:lnTo>
                    <a:pt x="105" y="722"/>
                  </a:lnTo>
                  <a:lnTo>
                    <a:pt x="103" y="721"/>
                  </a:lnTo>
                  <a:lnTo>
                    <a:pt x="100" y="720"/>
                  </a:lnTo>
                  <a:lnTo>
                    <a:pt x="98" y="719"/>
                  </a:lnTo>
                  <a:lnTo>
                    <a:pt x="96" y="717"/>
                  </a:lnTo>
                  <a:lnTo>
                    <a:pt x="93" y="715"/>
                  </a:lnTo>
                  <a:lnTo>
                    <a:pt x="92" y="713"/>
                  </a:lnTo>
                  <a:lnTo>
                    <a:pt x="91" y="710"/>
                  </a:lnTo>
                  <a:lnTo>
                    <a:pt x="90" y="706"/>
                  </a:lnTo>
                  <a:lnTo>
                    <a:pt x="90" y="165"/>
                  </a:lnTo>
                  <a:lnTo>
                    <a:pt x="90" y="135"/>
                  </a:lnTo>
                  <a:lnTo>
                    <a:pt x="120" y="135"/>
                  </a:lnTo>
                  <a:lnTo>
                    <a:pt x="120" y="706"/>
                  </a:lnTo>
                  <a:close/>
                  <a:moveTo>
                    <a:pt x="211" y="60"/>
                  </a:moveTo>
                  <a:lnTo>
                    <a:pt x="90" y="6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707"/>
                  </a:lnTo>
                  <a:lnTo>
                    <a:pt x="0" y="718"/>
                  </a:lnTo>
                  <a:lnTo>
                    <a:pt x="1" y="728"/>
                  </a:lnTo>
                  <a:lnTo>
                    <a:pt x="1" y="730"/>
                  </a:lnTo>
                  <a:lnTo>
                    <a:pt x="1" y="732"/>
                  </a:lnTo>
                  <a:lnTo>
                    <a:pt x="4" y="748"/>
                  </a:lnTo>
                  <a:lnTo>
                    <a:pt x="8" y="762"/>
                  </a:lnTo>
                  <a:lnTo>
                    <a:pt x="12" y="775"/>
                  </a:lnTo>
                  <a:lnTo>
                    <a:pt x="17" y="786"/>
                  </a:lnTo>
                  <a:lnTo>
                    <a:pt x="23" y="796"/>
                  </a:lnTo>
                  <a:lnTo>
                    <a:pt x="29" y="805"/>
                  </a:lnTo>
                  <a:lnTo>
                    <a:pt x="35" y="813"/>
                  </a:lnTo>
                  <a:lnTo>
                    <a:pt x="43" y="819"/>
                  </a:lnTo>
                  <a:lnTo>
                    <a:pt x="50" y="824"/>
                  </a:lnTo>
                  <a:lnTo>
                    <a:pt x="58" y="829"/>
                  </a:lnTo>
                  <a:lnTo>
                    <a:pt x="64" y="833"/>
                  </a:lnTo>
                  <a:lnTo>
                    <a:pt x="72" y="835"/>
                  </a:lnTo>
                  <a:lnTo>
                    <a:pt x="85" y="839"/>
                  </a:lnTo>
                  <a:lnTo>
                    <a:pt x="96" y="842"/>
                  </a:lnTo>
                  <a:lnTo>
                    <a:pt x="96" y="842"/>
                  </a:lnTo>
                  <a:lnTo>
                    <a:pt x="97" y="842"/>
                  </a:lnTo>
                  <a:lnTo>
                    <a:pt x="104" y="843"/>
                  </a:lnTo>
                  <a:lnTo>
                    <a:pt x="113" y="843"/>
                  </a:lnTo>
                  <a:lnTo>
                    <a:pt x="128" y="842"/>
                  </a:lnTo>
                  <a:lnTo>
                    <a:pt x="141" y="839"/>
                  </a:lnTo>
                  <a:lnTo>
                    <a:pt x="152" y="835"/>
                  </a:lnTo>
                  <a:lnTo>
                    <a:pt x="163" y="831"/>
                  </a:lnTo>
                  <a:lnTo>
                    <a:pt x="174" y="824"/>
                  </a:lnTo>
                  <a:lnTo>
                    <a:pt x="183" y="817"/>
                  </a:lnTo>
                  <a:lnTo>
                    <a:pt x="191" y="808"/>
                  </a:lnTo>
                  <a:lnTo>
                    <a:pt x="199" y="800"/>
                  </a:lnTo>
                  <a:lnTo>
                    <a:pt x="205" y="789"/>
                  </a:lnTo>
                  <a:lnTo>
                    <a:pt x="210" y="778"/>
                  </a:lnTo>
                  <a:lnTo>
                    <a:pt x="216" y="768"/>
                  </a:lnTo>
                  <a:lnTo>
                    <a:pt x="219" y="756"/>
                  </a:lnTo>
                  <a:lnTo>
                    <a:pt x="222" y="744"/>
                  </a:lnTo>
                  <a:lnTo>
                    <a:pt x="224" y="731"/>
                  </a:lnTo>
                  <a:lnTo>
                    <a:pt x="225" y="719"/>
                  </a:lnTo>
                  <a:lnTo>
                    <a:pt x="226" y="707"/>
                  </a:lnTo>
                  <a:lnTo>
                    <a:pt x="226" y="75"/>
                  </a:lnTo>
                  <a:lnTo>
                    <a:pt x="225" y="71"/>
                  </a:lnTo>
                  <a:lnTo>
                    <a:pt x="225" y="69"/>
                  </a:lnTo>
                  <a:lnTo>
                    <a:pt x="223" y="66"/>
                  </a:lnTo>
                  <a:lnTo>
                    <a:pt x="222" y="64"/>
                  </a:lnTo>
                  <a:lnTo>
                    <a:pt x="220" y="62"/>
                  </a:lnTo>
                  <a:lnTo>
                    <a:pt x="217" y="61"/>
                  </a:lnTo>
                  <a:lnTo>
                    <a:pt x="215" y="60"/>
                  </a:lnTo>
                  <a:lnTo>
                    <a:pt x="21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615407" y="4723188"/>
            <a:ext cx="2571930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$125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10035" y="4723188"/>
            <a:ext cx="2571930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$225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004664" y="4723188"/>
            <a:ext cx="2571930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$325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Salary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12" name="Rectangle: Rounded Corners 11"/>
          <p:cNvSpPr/>
          <p:nvPr/>
        </p:nvSpPr>
        <p:spPr>
          <a:xfrm>
            <a:off x="426357" y="1195785"/>
            <a:ext cx="5410200" cy="1132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/>
          <p:cNvSpPr/>
          <p:nvPr/>
        </p:nvSpPr>
        <p:spPr>
          <a:xfrm>
            <a:off x="426357" y="3015343"/>
            <a:ext cx="5410200" cy="1132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/>
          <p:cNvSpPr/>
          <p:nvPr/>
        </p:nvSpPr>
        <p:spPr>
          <a:xfrm>
            <a:off x="426357" y="4834901"/>
            <a:ext cx="5410200" cy="1132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2667000" y="1297384"/>
            <a:ext cx="928915" cy="9289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2666999" y="3116942"/>
            <a:ext cx="928915" cy="9289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2666999" y="4936500"/>
            <a:ext cx="928915" cy="9289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764721" y="1607952"/>
            <a:ext cx="1576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HIGHEST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64721" y="5250048"/>
            <a:ext cx="1576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LOWEST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64721" y="3427512"/>
            <a:ext cx="1576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AVERAGE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922031" y="1546398"/>
            <a:ext cx="157616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  <a:latin typeface="+mj-lt"/>
              </a:rPr>
              <a:t>$145,000</a:t>
            </a:r>
            <a:endParaRPr lang="en-US" sz="2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922031" y="5188494"/>
            <a:ext cx="157616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  <a:latin typeface="+mj-lt"/>
              </a:rPr>
              <a:t>$31,000</a:t>
            </a:r>
            <a:endParaRPr lang="en-US" sz="2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922031" y="3365958"/>
            <a:ext cx="157616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  <a:latin typeface="+mj-lt"/>
              </a:rPr>
              <a:t>$57,000</a:t>
            </a:r>
            <a:endParaRPr lang="en-US" sz="28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2991757" y="3471861"/>
            <a:ext cx="279400" cy="219076"/>
            <a:chOff x="4329113" y="4264025"/>
            <a:chExt cx="279400" cy="219076"/>
          </a:xfrm>
          <a:solidFill>
            <a:schemeClr val="bg1"/>
          </a:solidFill>
        </p:grpSpPr>
        <p:sp>
          <p:nvSpPr>
            <p:cNvPr id="41" name="Freeform 1677"/>
            <p:cNvSpPr/>
            <p:nvPr/>
          </p:nvSpPr>
          <p:spPr bwMode="auto">
            <a:xfrm>
              <a:off x="4329113" y="4264025"/>
              <a:ext cx="227013" cy="90488"/>
            </a:xfrm>
            <a:custGeom>
              <a:avLst/>
              <a:gdLst>
                <a:gd name="T0" fmla="*/ 572 w 572"/>
                <a:gd name="T1" fmla="*/ 205 h 228"/>
                <a:gd name="T2" fmla="*/ 572 w 572"/>
                <a:gd name="T3" fmla="*/ 200 h 228"/>
                <a:gd name="T4" fmla="*/ 571 w 572"/>
                <a:gd name="T5" fmla="*/ 195 h 228"/>
                <a:gd name="T6" fmla="*/ 569 w 572"/>
                <a:gd name="T7" fmla="*/ 191 h 228"/>
                <a:gd name="T8" fmla="*/ 566 w 572"/>
                <a:gd name="T9" fmla="*/ 188 h 228"/>
                <a:gd name="T10" fmla="*/ 562 w 572"/>
                <a:gd name="T11" fmla="*/ 185 h 228"/>
                <a:gd name="T12" fmla="*/ 558 w 572"/>
                <a:gd name="T13" fmla="*/ 183 h 228"/>
                <a:gd name="T14" fmla="*/ 554 w 572"/>
                <a:gd name="T15" fmla="*/ 181 h 228"/>
                <a:gd name="T16" fmla="*/ 549 w 572"/>
                <a:gd name="T17" fmla="*/ 181 h 228"/>
                <a:gd name="T18" fmla="*/ 85 w 572"/>
                <a:gd name="T19" fmla="*/ 181 h 228"/>
                <a:gd name="T20" fmla="*/ 237 w 572"/>
                <a:gd name="T21" fmla="*/ 42 h 228"/>
                <a:gd name="T22" fmla="*/ 240 w 572"/>
                <a:gd name="T23" fmla="*/ 38 h 228"/>
                <a:gd name="T24" fmla="*/ 242 w 572"/>
                <a:gd name="T25" fmla="*/ 34 h 228"/>
                <a:gd name="T26" fmla="*/ 244 w 572"/>
                <a:gd name="T27" fmla="*/ 30 h 228"/>
                <a:gd name="T28" fmla="*/ 244 w 572"/>
                <a:gd name="T29" fmla="*/ 25 h 228"/>
                <a:gd name="T30" fmla="*/ 244 w 572"/>
                <a:gd name="T31" fmla="*/ 21 h 228"/>
                <a:gd name="T32" fmla="*/ 243 w 572"/>
                <a:gd name="T33" fmla="*/ 16 h 228"/>
                <a:gd name="T34" fmla="*/ 241 w 572"/>
                <a:gd name="T35" fmla="*/ 12 h 228"/>
                <a:gd name="T36" fmla="*/ 239 w 572"/>
                <a:gd name="T37" fmla="*/ 9 h 228"/>
                <a:gd name="T38" fmla="*/ 235 w 572"/>
                <a:gd name="T39" fmla="*/ 4 h 228"/>
                <a:gd name="T40" fmla="*/ 231 w 572"/>
                <a:gd name="T41" fmla="*/ 2 h 228"/>
                <a:gd name="T42" fmla="*/ 227 w 572"/>
                <a:gd name="T43" fmla="*/ 1 h 228"/>
                <a:gd name="T44" fmla="*/ 221 w 572"/>
                <a:gd name="T45" fmla="*/ 0 h 228"/>
                <a:gd name="T46" fmla="*/ 217 w 572"/>
                <a:gd name="T47" fmla="*/ 0 h 228"/>
                <a:gd name="T48" fmla="*/ 212 w 572"/>
                <a:gd name="T49" fmla="*/ 1 h 228"/>
                <a:gd name="T50" fmla="*/ 208 w 572"/>
                <a:gd name="T51" fmla="*/ 3 h 228"/>
                <a:gd name="T52" fmla="*/ 205 w 572"/>
                <a:gd name="T53" fmla="*/ 5 h 228"/>
                <a:gd name="T54" fmla="*/ 8 w 572"/>
                <a:gd name="T55" fmla="*/ 188 h 228"/>
                <a:gd name="T56" fmla="*/ 6 w 572"/>
                <a:gd name="T57" fmla="*/ 191 h 228"/>
                <a:gd name="T58" fmla="*/ 4 w 572"/>
                <a:gd name="T59" fmla="*/ 193 h 228"/>
                <a:gd name="T60" fmla="*/ 3 w 572"/>
                <a:gd name="T61" fmla="*/ 196 h 228"/>
                <a:gd name="T62" fmla="*/ 2 w 572"/>
                <a:gd name="T63" fmla="*/ 200 h 228"/>
                <a:gd name="T64" fmla="*/ 0 w 572"/>
                <a:gd name="T65" fmla="*/ 207 h 228"/>
                <a:gd name="T66" fmla="*/ 3 w 572"/>
                <a:gd name="T67" fmla="*/ 214 h 228"/>
                <a:gd name="T68" fmla="*/ 6 w 572"/>
                <a:gd name="T69" fmla="*/ 220 h 228"/>
                <a:gd name="T70" fmla="*/ 11 w 572"/>
                <a:gd name="T71" fmla="*/ 225 h 228"/>
                <a:gd name="T72" fmla="*/ 17 w 572"/>
                <a:gd name="T73" fmla="*/ 227 h 228"/>
                <a:gd name="T74" fmla="*/ 25 w 572"/>
                <a:gd name="T75" fmla="*/ 228 h 228"/>
                <a:gd name="T76" fmla="*/ 549 w 572"/>
                <a:gd name="T77" fmla="*/ 228 h 228"/>
                <a:gd name="T78" fmla="*/ 554 w 572"/>
                <a:gd name="T79" fmla="*/ 228 h 228"/>
                <a:gd name="T80" fmla="*/ 558 w 572"/>
                <a:gd name="T81" fmla="*/ 227 h 228"/>
                <a:gd name="T82" fmla="*/ 562 w 572"/>
                <a:gd name="T83" fmla="*/ 225 h 228"/>
                <a:gd name="T84" fmla="*/ 566 w 572"/>
                <a:gd name="T85" fmla="*/ 222 h 228"/>
                <a:gd name="T86" fmla="*/ 569 w 572"/>
                <a:gd name="T87" fmla="*/ 218 h 228"/>
                <a:gd name="T88" fmla="*/ 571 w 572"/>
                <a:gd name="T89" fmla="*/ 214 h 228"/>
                <a:gd name="T90" fmla="*/ 572 w 572"/>
                <a:gd name="T91" fmla="*/ 210 h 228"/>
                <a:gd name="T92" fmla="*/ 572 w 572"/>
                <a:gd name="T93" fmla="*/ 20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72" h="228">
                  <a:moveTo>
                    <a:pt x="572" y="205"/>
                  </a:moveTo>
                  <a:lnTo>
                    <a:pt x="572" y="200"/>
                  </a:lnTo>
                  <a:lnTo>
                    <a:pt x="571" y="195"/>
                  </a:lnTo>
                  <a:lnTo>
                    <a:pt x="569" y="191"/>
                  </a:lnTo>
                  <a:lnTo>
                    <a:pt x="566" y="188"/>
                  </a:lnTo>
                  <a:lnTo>
                    <a:pt x="562" y="185"/>
                  </a:lnTo>
                  <a:lnTo>
                    <a:pt x="558" y="183"/>
                  </a:lnTo>
                  <a:lnTo>
                    <a:pt x="554" y="181"/>
                  </a:lnTo>
                  <a:lnTo>
                    <a:pt x="549" y="181"/>
                  </a:lnTo>
                  <a:lnTo>
                    <a:pt x="85" y="181"/>
                  </a:lnTo>
                  <a:lnTo>
                    <a:pt x="237" y="42"/>
                  </a:lnTo>
                  <a:lnTo>
                    <a:pt x="240" y="38"/>
                  </a:lnTo>
                  <a:lnTo>
                    <a:pt x="242" y="34"/>
                  </a:lnTo>
                  <a:lnTo>
                    <a:pt x="244" y="30"/>
                  </a:lnTo>
                  <a:lnTo>
                    <a:pt x="244" y="25"/>
                  </a:lnTo>
                  <a:lnTo>
                    <a:pt x="244" y="21"/>
                  </a:lnTo>
                  <a:lnTo>
                    <a:pt x="243" y="16"/>
                  </a:lnTo>
                  <a:lnTo>
                    <a:pt x="241" y="12"/>
                  </a:lnTo>
                  <a:lnTo>
                    <a:pt x="239" y="9"/>
                  </a:lnTo>
                  <a:lnTo>
                    <a:pt x="235" y="4"/>
                  </a:lnTo>
                  <a:lnTo>
                    <a:pt x="231" y="2"/>
                  </a:lnTo>
                  <a:lnTo>
                    <a:pt x="227" y="1"/>
                  </a:lnTo>
                  <a:lnTo>
                    <a:pt x="221" y="0"/>
                  </a:lnTo>
                  <a:lnTo>
                    <a:pt x="217" y="0"/>
                  </a:lnTo>
                  <a:lnTo>
                    <a:pt x="212" y="1"/>
                  </a:lnTo>
                  <a:lnTo>
                    <a:pt x="208" y="3"/>
                  </a:lnTo>
                  <a:lnTo>
                    <a:pt x="205" y="5"/>
                  </a:lnTo>
                  <a:lnTo>
                    <a:pt x="8" y="188"/>
                  </a:lnTo>
                  <a:lnTo>
                    <a:pt x="6" y="191"/>
                  </a:lnTo>
                  <a:lnTo>
                    <a:pt x="4" y="193"/>
                  </a:lnTo>
                  <a:lnTo>
                    <a:pt x="3" y="196"/>
                  </a:lnTo>
                  <a:lnTo>
                    <a:pt x="2" y="200"/>
                  </a:lnTo>
                  <a:lnTo>
                    <a:pt x="0" y="207"/>
                  </a:lnTo>
                  <a:lnTo>
                    <a:pt x="3" y="214"/>
                  </a:lnTo>
                  <a:lnTo>
                    <a:pt x="6" y="220"/>
                  </a:lnTo>
                  <a:lnTo>
                    <a:pt x="11" y="225"/>
                  </a:lnTo>
                  <a:lnTo>
                    <a:pt x="17" y="227"/>
                  </a:lnTo>
                  <a:lnTo>
                    <a:pt x="25" y="228"/>
                  </a:lnTo>
                  <a:lnTo>
                    <a:pt x="549" y="228"/>
                  </a:lnTo>
                  <a:lnTo>
                    <a:pt x="554" y="228"/>
                  </a:lnTo>
                  <a:lnTo>
                    <a:pt x="558" y="227"/>
                  </a:lnTo>
                  <a:lnTo>
                    <a:pt x="562" y="225"/>
                  </a:lnTo>
                  <a:lnTo>
                    <a:pt x="566" y="222"/>
                  </a:lnTo>
                  <a:lnTo>
                    <a:pt x="569" y="218"/>
                  </a:lnTo>
                  <a:lnTo>
                    <a:pt x="571" y="214"/>
                  </a:lnTo>
                  <a:lnTo>
                    <a:pt x="572" y="210"/>
                  </a:lnTo>
                  <a:lnTo>
                    <a:pt x="572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2" name="Freeform 1678"/>
            <p:cNvSpPr/>
            <p:nvPr/>
          </p:nvSpPr>
          <p:spPr bwMode="auto">
            <a:xfrm>
              <a:off x="4381500" y="4392613"/>
              <a:ext cx="227013" cy="90488"/>
            </a:xfrm>
            <a:custGeom>
              <a:avLst/>
              <a:gdLst>
                <a:gd name="T0" fmla="*/ 571 w 573"/>
                <a:gd name="T1" fmla="*/ 16 h 228"/>
                <a:gd name="T2" fmla="*/ 570 w 573"/>
                <a:gd name="T3" fmla="*/ 13 h 228"/>
                <a:gd name="T4" fmla="*/ 567 w 573"/>
                <a:gd name="T5" fmla="*/ 9 h 228"/>
                <a:gd name="T6" fmla="*/ 565 w 573"/>
                <a:gd name="T7" fmla="*/ 7 h 228"/>
                <a:gd name="T8" fmla="*/ 562 w 573"/>
                <a:gd name="T9" fmla="*/ 5 h 228"/>
                <a:gd name="T10" fmla="*/ 556 w 573"/>
                <a:gd name="T11" fmla="*/ 2 h 228"/>
                <a:gd name="T12" fmla="*/ 549 w 573"/>
                <a:gd name="T13" fmla="*/ 0 h 228"/>
                <a:gd name="T14" fmla="*/ 24 w 573"/>
                <a:gd name="T15" fmla="*/ 0 h 228"/>
                <a:gd name="T16" fmla="*/ 20 w 573"/>
                <a:gd name="T17" fmla="*/ 0 h 228"/>
                <a:gd name="T18" fmla="*/ 15 w 573"/>
                <a:gd name="T19" fmla="*/ 3 h 228"/>
                <a:gd name="T20" fmla="*/ 11 w 573"/>
                <a:gd name="T21" fmla="*/ 5 h 228"/>
                <a:gd name="T22" fmla="*/ 8 w 573"/>
                <a:gd name="T23" fmla="*/ 7 h 228"/>
                <a:gd name="T24" fmla="*/ 4 w 573"/>
                <a:gd name="T25" fmla="*/ 12 h 228"/>
                <a:gd name="T26" fmla="*/ 2 w 573"/>
                <a:gd name="T27" fmla="*/ 15 h 228"/>
                <a:gd name="T28" fmla="*/ 1 w 573"/>
                <a:gd name="T29" fmla="*/ 19 h 228"/>
                <a:gd name="T30" fmla="*/ 0 w 573"/>
                <a:gd name="T31" fmla="*/ 25 h 228"/>
                <a:gd name="T32" fmla="*/ 1 w 573"/>
                <a:gd name="T33" fmla="*/ 29 h 228"/>
                <a:gd name="T34" fmla="*/ 2 w 573"/>
                <a:gd name="T35" fmla="*/ 34 h 228"/>
                <a:gd name="T36" fmla="*/ 4 w 573"/>
                <a:gd name="T37" fmla="*/ 38 h 228"/>
                <a:gd name="T38" fmla="*/ 8 w 573"/>
                <a:gd name="T39" fmla="*/ 41 h 228"/>
                <a:gd name="T40" fmla="*/ 11 w 573"/>
                <a:gd name="T41" fmla="*/ 45 h 228"/>
                <a:gd name="T42" fmla="*/ 15 w 573"/>
                <a:gd name="T43" fmla="*/ 47 h 228"/>
                <a:gd name="T44" fmla="*/ 20 w 573"/>
                <a:gd name="T45" fmla="*/ 48 h 228"/>
                <a:gd name="T46" fmla="*/ 24 w 573"/>
                <a:gd name="T47" fmla="*/ 48 h 228"/>
                <a:gd name="T48" fmla="*/ 487 w 573"/>
                <a:gd name="T49" fmla="*/ 48 h 228"/>
                <a:gd name="T50" fmla="*/ 337 w 573"/>
                <a:gd name="T51" fmla="*/ 187 h 228"/>
                <a:gd name="T52" fmla="*/ 333 w 573"/>
                <a:gd name="T53" fmla="*/ 190 h 228"/>
                <a:gd name="T54" fmla="*/ 330 w 573"/>
                <a:gd name="T55" fmla="*/ 195 h 228"/>
                <a:gd name="T56" fmla="*/ 329 w 573"/>
                <a:gd name="T57" fmla="*/ 199 h 228"/>
                <a:gd name="T58" fmla="*/ 329 w 573"/>
                <a:gd name="T59" fmla="*/ 204 h 228"/>
                <a:gd name="T60" fmla="*/ 329 w 573"/>
                <a:gd name="T61" fmla="*/ 208 h 228"/>
                <a:gd name="T62" fmla="*/ 330 w 573"/>
                <a:gd name="T63" fmla="*/ 212 h 228"/>
                <a:gd name="T64" fmla="*/ 332 w 573"/>
                <a:gd name="T65" fmla="*/ 217 h 228"/>
                <a:gd name="T66" fmla="*/ 334 w 573"/>
                <a:gd name="T67" fmla="*/ 221 h 228"/>
                <a:gd name="T68" fmla="*/ 339 w 573"/>
                <a:gd name="T69" fmla="*/ 224 h 228"/>
                <a:gd name="T70" fmla="*/ 343 w 573"/>
                <a:gd name="T71" fmla="*/ 227 h 228"/>
                <a:gd name="T72" fmla="*/ 348 w 573"/>
                <a:gd name="T73" fmla="*/ 228 h 228"/>
                <a:gd name="T74" fmla="*/ 352 w 573"/>
                <a:gd name="T75" fmla="*/ 228 h 228"/>
                <a:gd name="T76" fmla="*/ 356 w 573"/>
                <a:gd name="T77" fmla="*/ 228 h 228"/>
                <a:gd name="T78" fmla="*/ 361 w 573"/>
                <a:gd name="T79" fmla="*/ 227 h 228"/>
                <a:gd name="T80" fmla="*/ 365 w 573"/>
                <a:gd name="T81" fmla="*/ 225 h 228"/>
                <a:gd name="T82" fmla="*/ 369 w 573"/>
                <a:gd name="T83" fmla="*/ 222 h 228"/>
                <a:gd name="T84" fmla="*/ 565 w 573"/>
                <a:gd name="T85" fmla="*/ 42 h 228"/>
                <a:gd name="T86" fmla="*/ 567 w 573"/>
                <a:gd name="T87" fmla="*/ 40 h 228"/>
                <a:gd name="T88" fmla="*/ 570 w 573"/>
                <a:gd name="T89" fmla="*/ 37 h 228"/>
                <a:gd name="T90" fmla="*/ 571 w 573"/>
                <a:gd name="T91" fmla="*/ 34 h 228"/>
                <a:gd name="T92" fmla="*/ 572 w 573"/>
                <a:gd name="T93" fmla="*/ 30 h 228"/>
                <a:gd name="T94" fmla="*/ 573 w 573"/>
                <a:gd name="T95" fmla="*/ 24 h 228"/>
                <a:gd name="T96" fmla="*/ 571 w 573"/>
                <a:gd name="T97" fmla="*/ 1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3" h="228">
                  <a:moveTo>
                    <a:pt x="571" y="16"/>
                  </a:moveTo>
                  <a:lnTo>
                    <a:pt x="570" y="13"/>
                  </a:lnTo>
                  <a:lnTo>
                    <a:pt x="567" y="9"/>
                  </a:lnTo>
                  <a:lnTo>
                    <a:pt x="565" y="7"/>
                  </a:lnTo>
                  <a:lnTo>
                    <a:pt x="562" y="5"/>
                  </a:lnTo>
                  <a:lnTo>
                    <a:pt x="556" y="2"/>
                  </a:lnTo>
                  <a:lnTo>
                    <a:pt x="549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5" y="3"/>
                  </a:lnTo>
                  <a:lnTo>
                    <a:pt x="11" y="5"/>
                  </a:lnTo>
                  <a:lnTo>
                    <a:pt x="8" y="7"/>
                  </a:lnTo>
                  <a:lnTo>
                    <a:pt x="4" y="12"/>
                  </a:lnTo>
                  <a:lnTo>
                    <a:pt x="2" y="15"/>
                  </a:lnTo>
                  <a:lnTo>
                    <a:pt x="1" y="19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2" y="34"/>
                  </a:lnTo>
                  <a:lnTo>
                    <a:pt x="4" y="38"/>
                  </a:lnTo>
                  <a:lnTo>
                    <a:pt x="8" y="41"/>
                  </a:lnTo>
                  <a:lnTo>
                    <a:pt x="11" y="45"/>
                  </a:lnTo>
                  <a:lnTo>
                    <a:pt x="15" y="47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487" y="48"/>
                  </a:lnTo>
                  <a:lnTo>
                    <a:pt x="337" y="187"/>
                  </a:lnTo>
                  <a:lnTo>
                    <a:pt x="333" y="190"/>
                  </a:lnTo>
                  <a:lnTo>
                    <a:pt x="330" y="195"/>
                  </a:lnTo>
                  <a:lnTo>
                    <a:pt x="329" y="199"/>
                  </a:lnTo>
                  <a:lnTo>
                    <a:pt x="329" y="204"/>
                  </a:lnTo>
                  <a:lnTo>
                    <a:pt x="329" y="208"/>
                  </a:lnTo>
                  <a:lnTo>
                    <a:pt x="330" y="212"/>
                  </a:lnTo>
                  <a:lnTo>
                    <a:pt x="332" y="217"/>
                  </a:lnTo>
                  <a:lnTo>
                    <a:pt x="334" y="221"/>
                  </a:lnTo>
                  <a:lnTo>
                    <a:pt x="339" y="224"/>
                  </a:lnTo>
                  <a:lnTo>
                    <a:pt x="343" y="227"/>
                  </a:lnTo>
                  <a:lnTo>
                    <a:pt x="348" y="228"/>
                  </a:lnTo>
                  <a:lnTo>
                    <a:pt x="352" y="228"/>
                  </a:lnTo>
                  <a:lnTo>
                    <a:pt x="356" y="228"/>
                  </a:lnTo>
                  <a:lnTo>
                    <a:pt x="361" y="227"/>
                  </a:lnTo>
                  <a:lnTo>
                    <a:pt x="365" y="225"/>
                  </a:lnTo>
                  <a:lnTo>
                    <a:pt x="369" y="222"/>
                  </a:lnTo>
                  <a:lnTo>
                    <a:pt x="565" y="42"/>
                  </a:lnTo>
                  <a:lnTo>
                    <a:pt x="567" y="40"/>
                  </a:lnTo>
                  <a:lnTo>
                    <a:pt x="570" y="37"/>
                  </a:lnTo>
                  <a:lnTo>
                    <a:pt x="571" y="34"/>
                  </a:lnTo>
                  <a:lnTo>
                    <a:pt x="572" y="30"/>
                  </a:lnTo>
                  <a:lnTo>
                    <a:pt x="573" y="24"/>
                  </a:lnTo>
                  <a:lnTo>
                    <a:pt x="57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988582" y="1618966"/>
            <a:ext cx="285750" cy="285751"/>
            <a:chOff x="2614613" y="4787900"/>
            <a:chExt cx="285750" cy="285751"/>
          </a:xfrm>
          <a:solidFill>
            <a:schemeClr val="bg1"/>
          </a:solidFill>
        </p:grpSpPr>
        <p:sp>
          <p:nvSpPr>
            <p:cNvPr id="44" name="Freeform 1758"/>
            <p:cNvSpPr/>
            <p:nvPr/>
          </p:nvSpPr>
          <p:spPr bwMode="auto">
            <a:xfrm>
              <a:off x="2701925" y="4849813"/>
              <a:ext cx="112713" cy="223838"/>
            </a:xfrm>
            <a:custGeom>
              <a:avLst/>
              <a:gdLst>
                <a:gd name="T0" fmla="*/ 160 w 287"/>
                <a:gd name="T1" fmla="*/ 8 h 563"/>
                <a:gd name="T2" fmla="*/ 157 w 287"/>
                <a:gd name="T3" fmla="*/ 4 h 563"/>
                <a:gd name="T4" fmla="*/ 152 w 287"/>
                <a:gd name="T5" fmla="*/ 2 h 563"/>
                <a:gd name="T6" fmla="*/ 148 w 287"/>
                <a:gd name="T7" fmla="*/ 1 h 563"/>
                <a:gd name="T8" fmla="*/ 144 w 287"/>
                <a:gd name="T9" fmla="*/ 0 h 563"/>
                <a:gd name="T10" fmla="*/ 139 w 287"/>
                <a:gd name="T11" fmla="*/ 1 h 563"/>
                <a:gd name="T12" fmla="*/ 135 w 287"/>
                <a:gd name="T13" fmla="*/ 2 h 563"/>
                <a:gd name="T14" fmla="*/ 130 w 287"/>
                <a:gd name="T15" fmla="*/ 4 h 563"/>
                <a:gd name="T16" fmla="*/ 126 w 287"/>
                <a:gd name="T17" fmla="*/ 8 h 563"/>
                <a:gd name="T18" fmla="*/ 7 w 287"/>
                <a:gd name="T19" fmla="*/ 127 h 563"/>
                <a:gd name="T20" fmla="*/ 3 w 287"/>
                <a:gd name="T21" fmla="*/ 131 h 563"/>
                <a:gd name="T22" fmla="*/ 1 w 287"/>
                <a:gd name="T23" fmla="*/ 136 h 563"/>
                <a:gd name="T24" fmla="*/ 0 w 287"/>
                <a:gd name="T25" fmla="*/ 140 h 563"/>
                <a:gd name="T26" fmla="*/ 0 w 287"/>
                <a:gd name="T27" fmla="*/ 145 h 563"/>
                <a:gd name="T28" fmla="*/ 0 w 287"/>
                <a:gd name="T29" fmla="*/ 149 h 563"/>
                <a:gd name="T30" fmla="*/ 1 w 287"/>
                <a:gd name="T31" fmla="*/ 153 h 563"/>
                <a:gd name="T32" fmla="*/ 3 w 287"/>
                <a:gd name="T33" fmla="*/ 158 h 563"/>
                <a:gd name="T34" fmla="*/ 7 w 287"/>
                <a:gd name="T35" fmla="*/ 162 h 563"/>
                <a:gd name="T36" fmla="*/ 10 w 287"/>
                <a:gd name="T37" fmla="*/ 165 h 563"/>
                <a:gd name="T38" fmla="*/ 14 w 287"/>
                <a:gd name="T39" fmla="*/ 167 h 563"/>
                <a:gd name="T40" fmla="*/ 19 w 287"/>
                <a:gd name="T41" fmla="*/ 168 h 563"/>
                <a:gd name="T42" fmla="*/ 23 w 287"/>
                <a:gd name="T43" fmla="*/ 169 h 563"/>
                <a:gd name="T44" fmla="*/ 28 w 287"/>
                <a:gd name="T45" fmla="*/ 168 h 563"/>
                <a:gd name="T46" fmla="*/ 32 w 287"/>
                <a:gd name="T47" fmla="*/ 167 h 563"/>
                <a:gd name="T48" fmla="*/ 36 w 287"/>
                <a:gd name="T49" fmla="*/ 165 h 563"/>
                <a:gd name="T50" fmla="*/ 41 w 287"/>
                <a:gd name="T51" fmla="*/ 162 h 563"/>
                <a:gd name="T52" fmla="*/ 119 w 287"/>
                <a:gd name="T53" fmla="*/ 83 h 563"/>
                <a:gd name="T54" fmla="*/ 119 w 287"/>
                <a:gd name="T55" fmla="*/ 540 h 563"/>
                <a:gd name="T56" fmla="*/ 119 w 287"/>
                <a:gd name="T57" fmla="*/ 544 h 563"/>
                <a:gd name="T58" fmla="*/ 121 w 287"/>
                <a:gd name="T59" fmla="*/ 549 h 563"/>
                <a:gd name="T60" fmla="*/ 124 w 287"/>
                <a:gd name="T61" fmla="*/ 553 h 563"/>
                <a:gd name="T62" fmla="*/ 126 w 287"/>
                <a:gd name="T63" fmla="*/ 557 h 563"/>
                <a:gd name="T64" fmla="*/ 130 w 287"/>
                <a:gd name="T65" fmla="*/ 559 h 563"/>
                <a:gd name="T66" fmla="*/ 134 w 287"/>
                <a:gd name="T67" fmla="*/ 562 h 563"/>
                <a:gd name="T68" fmla="*/ 138 w 287"/>
                <a:gd name="T69" fmla="*/ 563 h 563"/>
                <a:gd name="T70" fmla="*/ 144 w 287"/>
                <a:gd name="T71" fmla="*/ 563 h 563"/>
                <a:gd name="T72" fmla="*/ 148 w 287"/>
                <a:gd name="T73" fmla="*/ 563 h 563"/>
                <a:gd name="T74" fmla="*/ 152 w 287"/>
                <a:gd name="T75" fmla="*/ 562 h 563"/>
                <a:gd name="T76" fmla="*/ 157 w 287"/>
                <a:gd name="T77" fmla="*/ 560 h 563"/>
                <a:gd name="T78" fmla="*/ 160 w 287"/>
                <a:gd name="T79" fmla="*/ 557 h 563"/>
                <a:gd name="T80" fmla="*/ 163 w 287"/>
                <a:gd name="T81" fmla="*/ 553 h 563"/>
                <a:gd name="T82" fmla="*/ 166 w 287"/>
                <a:gd name="T83" fmla="*/ 549 h 563"/>
                <a:gd name="T84" fmla="*/ 167 w 287"/>
                <a:gd name="T85" fmla="*/ 544 h 563"/>
                <a:gd name="T86" fmla="*/ 167 w 287"/>
                <a:gd name="T87" fmla="*/ 540 h 563"/>
                <a:gd name="T88" fmla="*/ 167 w 287"/>
                <a:gd name="T89" fmla="*/ 83 h 563"/>
                <a:gd name="T90" fmla="*/ 246 w 287"/>
                <a:gd name="T91" fmla="*/ 162 h 563"/>
                <a:gd name="T92" fmla="*/ 250 w 287"/>
                <a:gd name="T93" fmla="*/ 165 h 563"/>
                <a:gd name="T94" fmla="*/ 254 w 287"/>
                <a:gd name="T95" fmla="*/ 167 h 563"/>
                <a:gd name="T96" fmla="*/ 258 w 287"/>
                <a:gd name="T97" fmla="*/ 168 h 563"/>
                <a:gd name="T98" fmla="*/ 263 w 287"/>
                <a:gd name="T99" fmla="*/ 168 h 563"/>
                <a:gd name="T100" fmla="*/ 267 w 287"/>
                <a:gd name="T101" fmla="*/ 168 h 563"/>
                <a:gd name="T102" fmla="*/ 272 w 287"/>
                <a:gd name="T103" fmla="*/ 167 h 563"/>
                <a:gd name="T104" fmla="*/ 276 w 287"/>
                <a:gd name="T105" fmla="*/ 165 h 563"/>
                <a:gd name="T106" fmla="*/ 281 w 287"/>
                <a:gd name="T107" fmla="*/ 162 h 563"/>
                <a:gd name="T108" fmla="*/ 283 w 287"/>
                <a:gd name="T109" fmla="*/ 158 h 563"/>
                <a:gd name="T110" fmla="*/ 285 w 287"/>
                <a:gd name="T111" fmla="*/ 153 h 563"/>
                <a:gd name="T112" fmla="*/ 287 w 287"/>
                <a:gd name="T113" fmla="*/ 149 h 563"/>
                <a:gd name="T114" fmla="*/ 287 w 287"/>
                <a:gd name="T115" fmla="*/ 145 h 563"/>
                <a:gd name="T116" fmla="*/ 287 w 287"/>
                <a:gd name="T117" fmla="*/ 140 h 563"/>
                <a:gd name="T118" fmla="*/ 285 w 287"/>
                <a:gd name="T119" fmla="*/ 136 h 563"/>
                <a:gd name="T120" fmla="*/ 283 w 287"/>
                <a:gd name="T121" fmla="*/ 131 h 563"/>
                <a:gd name="T122" fmla="*/ 281 w 287"/>
                <a:gd name="T123" fmla="*/ 127 h 563"/>
                <a:gd name="T124" fmla="*/ 160 w 287"/>
                <a:gd name="T125" fmla="*/ 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7" h="563">
                  <a:moveTo>
                    <a:pt x="160" y="8"/>
                  </a:moveTo>
                  <a:lnTo>
                    <a:pt x="157" y="4"/>
                  </a:lnTo>
                  <a:lnTo>
                    <a:pt x="152" y="2"/>
                  </a:lnTo>
                  <a:lnTo>
                    <a:pt x="148" y="1"/>
                  </a:lnTo>
                  <a:lnTo>
                    <a:pt x="144" y="0"/>
                  </a:lnTo>
                  <a:lnTo>
                    <a:pt x="139" y="1"/>
                  </a:lnTo>
                  <a:lnTo>
                    <a:pt x="135" y="2"/>
                  </a:lnTo>
                  <a:lnTo>
                    <a:pt x="130" y="4"/>
                  </a:lnTo>
                  <a:lnTo>
                    <a:pt x="126" y="8"/>
                  </a:lnTo>
                  <a:lnTo>
                    <a:pt x="7" y="127"/>
                  </a:lnTo>
                  <a:lnTo>
                    <a:pt x="3" y="131"/>
                  </a:lnTo>
                  <a:lnTo>
                    <a:pt x="1" y="136"/>
                  </a:lnTo>
                  <a:lnTo>
                    <a:pt x="0" y="140"/>
                  </a:lnTo>
                  <a:lnTo>
                    <a:pt x="0" y="145"/>
                  </a:lnTo>
                  <a:lnTo>
                    <a:pt x="0" y="149"/>
                  </a:lnTo>
                  <a:lnTo>
                    <a:pt x="1" y="153"/>
                  </a:lnTo>
                  <a:lnTo>
                    <a:pt x="3" y="158"/>
                  </a:lnTo>
                  <a:lnTo>
                    <a:pt x="7" y="162"/>
                  </a:lnTo>
                  <a:lnTo>
                    <a:pt x="10" y="165"/>
                  </a:lnTo>
                  <a:lnTo>
                    <a:pt x="14" y="167"/>
                  </a:lnTo>
                  <a:lnTo>
                    <a:pt x="19" y="168"/>
                  </a:lnTo>
                  <a:lnTo>
                    <a:pt x="23" y="169"/>
                  </a:lnTo>
                  <a:lnTo>
                    <a:pt x="28" y="168"/>
                  </a:lnTo>
                  <a:lnTo>
                    <a:pt x="32" y="167"/>
                  </a:lnTo>
                  <a:lnTo>
                    <a:pt x="36" y="165"/>
                  </a:lnTo>
                  <a:lnTo>
                    <a:pt x="41" y="162"/>
                  </a:lnTo>
                  <a:lnTo>
                    <a:pt x="119" y="83"/>
                  </a:lnTo>
                  <a:lnTo>
                    <a:pt x="119" y="540"/>
                  </a:lnTo>
                  <a:lnTo>
                    <a:pt x="119" y="544"/>
                  </a:lnTo>
                  <a:lnTo>
                    <a:pt x="121" y="549"/>
                  </a:lnTo>
                  <a:lnTo>
                    <a:pt x="124" y="553"/>
                  </a:lnTo>
                  <a:lnTo>
                    <a:pt x="126" y="557"/>
                  </a:lnTo>
                  <a:lnTo>
                    <a:pt x="130" y="559"/>
                  </a:lnTo>
                  <a:lnTo>
                    <a:pt x="134" y="562"/>
                  </a:lnTo>
                  <a:lnTo>
                    <a:pt x="138" y="563"/>
                  </a:lnTo>
                  <a:lnTo>
                    <a:pt x="144" y="563"/>
                  </a:lnTo>
                  <a:lnTo>
                    <a:pt x="148" y="563"/>
                  </a:lnTo>
                  <a:lnTo>
                    <a:pt x="152" y="562"/>
                  </a:lnTo>
                  <a:lnTo>
                    <a:pt x="157" y="560"/>
                  </a:lnTo>
                  <a:lnTo>
                    <a:pt x="160" y="557"/>
                  </a:lnTo>
                  <a:lnTo>
                    <a:pt x="163" y="553"/>
                  </a:lnTo>
                  <a:lnTo>
                    <a:pt x="166" y="549"/>
                  </a:lnTo>
                  <a:lnTo>
                    <a:pt x="167" y="544"/>
                  </a:lnTo>
                  <a:lnTo>
                    <a:pt x="167" y="540"/>
                  </a:lnTo>
                  <a:lnTo>
                    <a:pt x="167" y="83"/>
                  </a:lnTo>
                  <a:lnTo>
                    <a:pt x="246" y="162"/>
                  </a:lnTo>
                  <a:lnTo>
                    <a:pt x="250" y="165"/>
                  </a:lnTo>
                  <a:lnTo>
                    <a:pt x="254" y="167"/>
                  </a:lnTo>
                  <a:lnTo>
                    <a:pt x="258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72" y="167"/>
                  </a:lnTo>
                  <a:lnTo>
                    <a:pt x="276" y="165"/>
                  </a:lnTo>
                  <a:lnTo>
                    <a:pt x="281" y="162"/>
                  </a:lnTo>
                  <a:lnTo>
                    <a:pt x="283" y="158"/>
                  </a:lnTo>
                  <a:lnTo>
                    <a:pt x="285" y="153"/>
                  </a:lnTo>
                  <a:lnTo>
                    <a:pt x="287" y="149"/>
                  </a:lnTo>
                  <a:lnTo>
                    <a:pt x="287" y="145"/>
                  </a:lnTo>
                  <a:lnTo>
                    <a:pt x="287" y="140"/>
                  </a:lnTo>
                  <a:lnTo>
                    <a:pt x="285" y="136"/>
                  </a:lnTo>
                  <a:lnTo>
                    <a:pt x="283" y="131"/>
                  </a:lnTo>
                  <a:lnTo>
                    <a:pt x="281" y="127"/>
                  </a:lnTo>
                  <a:lnTo>
                    <a:pt x="16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5" name="Freeform 1759"/>
            <p:cNvSpPr/>
            <p:nvPr/>
          </p:nvSpPr>
          <p:spPr bwMode="auto">
            <a:xfrm>
              <a:off x="2614613" y="4787900"/>
              <a:ext cx="285750" cy="19050"/>
            </a:xfrm>
            <a:custGeom>
              <a:avLst/>
              <a:gdLst>
                <a:gd name="T0" fmla="*/ 694 w 718"/>
                <a:gd name="T1" fmla="*/ 0 h 49"/>
                <a:gd name="T2" fmla="*/ 24 w 718"/>
                <a:gd name="T3" fmla="*/ 0 h 49"/>
                <a:gd name="T4" fmla="*/ 19 w 718"/>
                <a:gd name="T5" fmla="*/ 1 h 49"/>
                <a:gd name="T6" fmla="*/ 15 w 718"/>
                <a:gd name="T7" fmla="*/ 3 h 49"/>
                <a:gd name="T8" fmla="*/ 11 w 718"/>
                <a:gd name="T9" fmla="*/ 5 h 49"/>
                <a:gd name="T10" fmla="*/ 7 w 718"/>
                <a:gd name="T11" fmla="*/ 8 h 49"/>
                <a:gd name="T12" fmla="*/ 4 w 718"/>
                <a:gd name="T13" fmla="*/ 11 h 49"/>
                <a:gd name="T14" fmla="*/ 2 w 718"/>
                <a:gd name="T15" fmla="*/ 16 h 49"/>
                <a:gd name="T16" fmla="*/ 1 w 718"/>
                <a:gd name="T17" fmla="*/ 20 h 49"/>
                <a:gd name="T18" fmla="*/ 0 w 718"/>
                <a:gd name="T19" fmla="*/ 25 h 49"/>
                <a:gd name="T20" fmla="*/ 1 w 718"/>
                <a:gd name="T21" fmla="*/ 29 h 49"/>
                <a:gd name="T22" fmla="*/ 2 w 718"/>
                <a:gd name="T23" fmla="*/ 33 h 49"/>
                <a:gd name="T24" fmla="*/ 4 w 718"/>
                <a:gd name="T25" fmla="*/ 38 h 49"/>
                <a:gd name="T26" fmla="*/ 7 w 718"/>
                <a:gd name="T27" fmla="*/ 41 h 49"/>
                <a:gd name="T28" fmla="*/ 11 w 718"/>
                <a:gd name="T29" fmla="*/ 44 h 49"/>
                <a:gd name="T30" fmla="*/ 15 w 718"/>
                <a:gd name="T31" fmla="*/ 47 h 49"/>
                <a:gd name="T32" fmla="*/ 19 w 718"/>
                <a:gd name="T33" fmla="*/ 48 h 49"/>
                <a:gd name="T34" fmla="*/ 24 w 718"/>
                <a:gd name="T35" fmla="*/ 49 h 49"/>
                <a:gd name="T36" fmla="*/ 694 w 718"/>
                <a:gd name="T37" fmla="*/ 49 h 49"/>
                <a:gd name="T38" fmla="*/ 700 w 718"/>
                <a:gd name="T39" fmla="*/ 48 h 49"/>
                <a:gd name="T40" fmla="*/ 704 w 718"/>
                <a:gd name="T41" fmla="*/ 47 h 49"/>
                <a:gd name="T42" fmla="*/ 709 w 718"/>
                <a:gd name="T43" fmla="*/ 44 h 49"/>
                <a:gd name="T44" fmla="*/ 712 w 718"/>
                <a:gd name="T45" fmla="*/ 41 h 49"/>
                <a:gd name="T46" fmla="*/ 714 w 718"/>
                <a:gd name="T47" fmla="*/ 38 h 49"/>
                <a:gd name="T48" fmla="*/ 716 w 718"/>
                <a:gd name="T49" fmla="*/ 33 h 49"/>
                <a:gd name="T50" fmla="*/ 718 w 718"/>
                <a:gd name="T51" fmla="*/ 29 h 49"/>
                <a:gd name="T52" fmla="*/ 718 w 718"/>
                <a:gd name="T53" fmla="*/ 25 h 49"/>
                <a:gd name="T54" fmla="*/ 718 w 718"/>
                <a:gd name="T55" fmla="*/ 20 h 49"/>
                <a:gd name="T56" fmla="*/ 716 w 718"/>
                <a:gd name="T57" fmla="*/ 16 h 49"/>
                <a:gd name="T58" fmla="*/ 714 w 718"/>
                <a:gd name="T59" fmla="*/ 11 h 49"/>
                <a:gd name="T60" fmla="*/ 712 w 718"/>
                <a:gd name="T61" fmla="*/ 8 h 49"/>
                <a:gd name="T62" fmla="*/ 709 w 718"/>
                <a:gd name="T63" fmla="*/ 5 h 49"/>
                <a:gd name="T64" fmla="*/ 704 w 718"/>
                <a:gd name="T65" fmla="*/ 3 h 49"/>
                <a:gd name="T66" fmla="*/ 700 w 718"/>
                <a:gd name="T67" fmla="*/ 1 h 49"/>
                <a:gd name="T68" fmla="*/ 694 w 718"/>
                <a:gd name="T6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8" h="49">
                  <a:moveTo>
                    <a:pt x="694" y="0"/>
                  </a:moveTo>
                  <a:lnTo>
                    <a:pt x="24" y="0"/>
                  </a:lnTo>
                  <a:lnTo>
                    <a:pt x="19" y="1"/>
                  </a:lnTo>
                  <a:lnTo>
                    <a:pt x="15" y="3"/>
                  </a:lnTo>
                  <a:lnTo>
                    <a:pt x="11" y="5"/>
                  </a:lnTo>
                  <a:lnTo>
                    <a:pt x="7" y="8"/>
                  </a:lnTo>
                  <a:lnTo>
                    <a:pt x="4" y="11"/>
                  </a:lnTo>
                  <a:lnTo>
                    <a:pt x="2" y="16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2" y="33"/>
                  </a:lnTo>
                  <a:lnTo>
                    <a:pt x="4" y="38"/>
                  </a:lnTo>
                  <a:lnTo>
                    <a:pt x="7" y="41"/>
                  </a:lnTo>
                  <a:lnTo>
                    <a:pt x="11" y="44"/>
                  </a:lnTo>
                  <a:lnTo>
                    <a:pt x="15" y="47"/>
                  </a:lnTo>
                  <a:lnTo>
                    <a:pt x="19" y="48"/>
                  </a:lnTo>
                  <a:lnTo>
                    <a:pt x="24" y="49"/>
                  </a:lnTo>
                  <a:lnTo>
                    <a:pt x="694" y="49"/>
                  </a:lnTo>
                  <a:lnTo>
                    <a:pt x="700" y="48"/>
                  </a:lnTo>
                  <a:lnTo>
                    <a:pt x="704" y="47"/>
                  </a:lnTo>
                  <a:lnTo>
                    <a:pt x="709" y="44"/>
                  </a:lnTo>
                  <a:lnTo>
                    <a:pt x="712" y="41"/>
                  </a:lnTo>
                  <a:lnTo>
                    <a:pt x="714" y="38"/>
                  </a:lnTo>
                  <a:lnTo>
                    <a:pt x="716" y="33"/>
                  </a:lnTo>
                  <a:lnTo>
                    <a:pt x="718" y="29"/>
                  </a:lnTo>
                  <a:lnTo>
                    <a:pt x="718" y="25"/>
                  </a:lnTo>
                  <a:lnTo>
                    <a:pt x="718" y="20"/>
                  </a:lnTo>
                  <a:lnTo>
                    <a:pt x="716" y="16"/>
                  </a:lnTo>
                  <a:lnTo>
                    <a:pt x="714" y="11"/>
                  </a:lnTo>
                  <a:lnTo>
                    <a:pt x="712" y="8"/>
                  </a:lnTo>
                  <a:lnTo>
                    <a:pt x="709" y="5"/>
                  </a:lnTo>
                  <a:lnTo>
                    <a:pt x="704" y="3"/>
                  </a:lnTo>
                  <a:lnTo>
                    <a:pt x="700" y="1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988581" y="5258082"/>
            <a:ext cx="285750" cy="285750"/>
            <a:chOff x="2044700" y="4787900"/>
            <a:chExt cx="285750" cy="285750"/>
          </a:xfrm>
          <a:solidFill>
            <a:schemeClr val="bg1"/>
          </a:solidFill>
        </p:grpSpPr>
        <p:sp>
          <p:nvSpPr>
            <p:cNvPr id="47" name="Freeform 1760"/>
            <p:cNvSpPr/>
            <p:nvPr/>
          </p:nvSpPr>
          <p:spPr bwMode="auto">
            <a:xfrm>
              <a:off x="2130425" y="4787900"/>
              <a:ext cx="114300" cy="223838"/>
            </a:xfrm>
            <a:custGeom>
              <a:avLst/>
              <a:gdLst>
                <a:gd name="T0" fmla="*/ 127 w 287"/>
                <a:gd name="T1" fmla="*/ 558 h 563"/>
                <a:gd name="T2" fmla="*/ 131 w 287"/>
                <a:gd name="T3" fmla="*/ 560 h 563"/>
                <a:gd name="T4" fmla="*/ 135 w 287"/>
                <a:gd name="T5" fmla="*/ 562 h 563"/>
                <a:gd name="T6" fmla="*/ 139 w 287"/>
                <a:gd name="T7" fmla="*/ 563 h 563"/>
                <a:gd name="T8" fmla="*/ 144 w 287"/>
                <a:gd name="T9" fmla="*/ 563 h 563"/>
                <a:gd name="T10" fmla="*/ 148 w 287"/>
                <a:gd name="T11" fmla="*/ 563 h 563"/>
                <a:gd name="T12" fmla="*/ 153 w 287"/>
                <a:gd name="T13" fmla="*/ 562 h 563"/>
                <a:gd name="T14" fmla="*/ 157 w 287"/>
                <a:gd name="T15" fmla="*/ 560 h 563"/>
                <a:gd name="T16" fmla="*/ 160 w 287"/>
                <a:gd name="T17" fmla="*/ 558 h 563"/>
                <a:gd name="T18" fmla="*/ 281 w 287"/>
                <a:gd name="T19" fmla="*/ 438 h 563"/>
                <a:gd name="T20" fmla="*/ 284 w 287"/>
                <a:gd name="T21" fmla="*/ 434 h 563"/>
                <a:gd name="T22" fmla="*/ 286 w 287"/>
                <a:gd name="T23" fmla="*/ 430 h 563"/>
                <a:gd name="T24" fmla="*/ 287 w 287"/>
                <a:gd name="T25" fmla="*/ 425 h 563"/>
                <a:gd name="T26" fmla="*/ 287 w 287"/>
                <a:gd name="T27" fmla="*/ 421 h 563"/>
                <a:gd name="T28" fmla="*/ 287 w 287"/>
                <a:gd name="T29" fmla="*/ 416 h 563"/>
                <a:gd name="T30" fmla="*/ 286 w 287"/>
                <a:gd name="T31" fmla="*/ 411 h 563"/>
                <a:gd name="T32" fmla="*/ 284 w 287"/>
                <a:gd name="T33" fmla="*/ 407 h 563"/>
                <a:gd name="T34" fmla="*/ 281 w 287"/>
                <a:gd name="T35" fmla="*/ 403 h 563"/>
                <a:gd name="T36" fmla="*/ 276 w 287"/>
                <a:gd name="T37" fmla="*/ 400 h 563"/>
                <a:gd name="T38" fmla="*/ 273 w 287"/>
                <a:gd name="T39" fmla="*/ 398 h 563"/>
                <a:gd name="T40" fmla="*/ 269 w 287"/>
                <a:gd name="T41" fmla="*/ 397 h 563"/>
                <a:gd name="T42" fmla="*/ 263 w 287"/>
                <a:gd name="T43" fmla="*/ 396 h 563"/>
                <a:gd name="T44" fmla="*/ 259 w 287"/>
                <a:gd name="T45" fmla="*/ 397 h 563"/>
                <a:gd name="T46" fmla="*/ 254 w 287"/>
                <a:gd name="T47" fmla="*/ 398 h 563"/>
                <a:gd name="T48" fmla="*/ 251 w 287"/>
                <a:gd name="T49" fmla="*/ 400 h 563"/>
                <a:gd name="T50" fmla="*/ 247 w 287"/>
                <a:gd name="T51" fmla="*/ 403 h 563"/>
                <a:gd name="T52" fmla="*/ 168 w 287"/>
                <a:gd name="T53" fmla="*/ 482 h 563"/>
                <a:gd name="T54" fmla="*/ 168 w 287"/>
                <a:gd name="T55" fmla="*/ 25 h 563"/>
                <a:gd name="T56" fmla="*/ 167 w 287"/>
                <a:gd name="T57" fmla="*/ 20 h 563"/>
                <a:gd name="T58" fmla="*/ 166 w 287"/>
                <a:gd name="T59" fmla="*/ 16 h 563"/>
                <a:gd name="T60" fmla="*/ 164 w 287"/>
                <a:gd name="T61" fmla="*/ 11 h 563"/>
                <a:gd name="T62" fmla="*/ 160 w 287"/>
                <a:gd name="T63" fmla="*/ 8 h 563"/>
                <a:gd name="T64" fmla="*/ 157 w 287"/>
                <a:gd name="T65" fmla="*/ 5 h 563"/>
                <a:gd name="T66" fmla="*/ 153 w 287"/>
                <a:gd name="T67" fmla="*/ 3 h 563"/>
                <a:gd name="T68" fmla="*/ 148 w 287"/>
                <a:gd name="T69" fmla="*/ 1 h 563"/>
                <a:gd name="T70" fmla="*/ 144 w 287"/>
                <a:gd name="T71" fmla="*/ 0 h 563"/>
                <a:gd name="T72" fmla="*/ 139 w 287"/>
                <a:gd name="T73" fmla="*/ 1 h 563"/>
                <a:gd name="T74" fmla="*/ 135 w 287"/>
                <a:gd name="T75" fmla="*/ 3 h 563"/>
                <a:gd name="T76" fmla="*/ 131 w 287"/>
                <a:gd name="T77" fmla="*/ 5 h 563"/>
                <a:gd name="T78" fmla="*/ 127 w 287"/>
                <a:gd name="T79" fmla="*/ 8 h 563"/>
                <a:gd name="T80" fmla="*/ 124 w 287"/>
                <a:gd name="T81" fmla="*/ 11 h 563"/>
                <a:gd name="T82" fmla="*/ 122 w 287"/>
                <a:gd name="T83" fmla="*/ 16 h 563"/>
                <a:gd name="T84" fmla="*/ 121 w 287"/>
                <a:gd name="T85" fmla="*/ 20 h 563"/>
                <a:gd name="T86" fmla="*/ 120 w 287"/>
                <a:gd name="T87" fmla="*/ 25 h 563"/>
                <a:gd name="T88" fmla="*/ 120 w 287"/>
                <a:gd name="T89" fmla="*/ 482 h 563"/>
                <a:gd name="T90" fmla="*/ 41 w 287"/>
                <a:gd name="T91" fmla="*/ 403 h 563"/>
                <a:gd name="T92" fmla="*/ 37 w 287"/>
                <a:gd name="T93" fmla="*/ 400 h 563"/>
                <a:gd name="T94" fmla="*/ 33 w 287"/>
                <a:gd name="T95" fmla="*/ 398 h 563"/>
                <a:gd name="T96" fmla="*/ 29 w 287"/>
                <a:gd name="T97" fmla="*/ 397 h 563"/>
                <a:gd name="T98" fmla="*/ 25 w 287"/>
                <a:gd name="T99" fmla="*/ 396 h 563"/>
                <a:gd name="T100" fmla="*/ 19 w 287"/>
                <a:gd name="T101" fmla="*/ 397 h 563"/>
                <a:gd name="T102" fmla="*/ 15 w 287"/>
                <a:gd name="T103" fmla="*/ 398 h 563"/>
                <a:gd name="T104" fmla="*/ 11 w 287"/>
                <a:gd name="T105" fmla="*/ 400 h 563"/>
                <a:gd name="T106" fmla="*/ 7 w 287"/>
                <a:gd name="T107" fmla="*/ 403 h 563"/>
                <a:gd name="T108" fmla="*/ 4 w 287"/>
                <a:gd name="T109" fmla="*/ 407 h 563"/>
                <a:gd name="T110" fmla="*/ 1 w 287"/>
                <a:gd name="T111" fmla="*/ 411 h 563"/>
                <a:gd name="T112" fmla="*/ 0 w 287"/>
                <a:gd name="T113" fmla="*/ 416 h 563"/>
                <a:gd name="T114" fmla="*/ 0 w 287"/>
                <a:gd name="T115" fmla="*/ 421 h 563"/>
                <a:gd name="T116" fmla="*/ 0 w 287"/>
                <a:gd name="T117" fmla="*/ 425 h 563"/>
                <a:gd name="T118" fmla="*/ 1 w 287"/>
                <a:gd name="T119" fmla="*/ 430 h 563"/>
                <a:gd name="T120" fmla="*/ 4 w 287"/>
                <a:gd name="T121" fmla="*/ 434 h 563"/>
                <a:gd name="T122" fmla="*/ 7 w 287"/>
                <a:gd name="T123" fmla="*/ 438 h 563"/>
                <a:gd name="T124" fmla="*/ 127 w 287"/>
                <a:gd name="T125" fmla="*/ 55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7" h="563">
                  <a:moveTo>
                    <a:pt x="127" y="558"/>
                  </a:moveTo>
                  <a:lnTo>
                    <a:pt x="131" y="560"/>
                  </a:lnTo>
                  <a:lnTo>
                    <a:pt x="135" y="562"/>
                  </a:lnTo>
                  <a:lnTo>
                    <a:pt x="139" y="563"/>
                  </a:lnTo>
                  <a:lnTo>
                    <a:pt x="144" y="563"/>
                  </a:lnTo>
                  <a:lnTo>
                    <a:pt x="148" y="563"/>
                  </a:lnTo>
                  <a:lnTo>
                    <a:pt x="153" y="562"/>
                  </a:lnTo>
                  <a:lnTo>
                    <a:pt x="157" y="560"/>
                  </a:lnTo>
                  <a:lnTo>
                    <a:pt x="160" y="558"/>
                  </a:lnTo>
                  <a:lnTo>
                    <a:pt x="281" y="438"/>
                  </a:lnTo>
                  <a:lnTo>
                    <a:pt x="284" y="434"/>
                  </a:lnTo>
                  <a:lnTo>
                    <a:pt x="286" y="430"/>
                  </a:lnTo>
                  <a:lnTo>
                    <a:pt x="287" y="425"/>
                  </a:lnTo>
                  <a:lnTo>
                    <a:pt x="287" y="421"/>
                  </a:lnTo>
                  <a:lnTo>
                    <a:pt x="287" y="416"/>
                  </a:lnTo>
                  <a:lnTo>
                    <a:pt x="286" y="411"/>
                  </a:lnTo>
                  <a:lnTo>
                    <a:pt x="284" y="407"/>
                  </a:lnTo>
                  <a:lnTo>
                    <a:pt x="281" y="403"/>
                  </a:lnTo>
                  <a:lnTo>
                    <a:pt x="276" y="400"/>
                  </a:lnTo>
                  <a:lnTo>
                    <a:pt x="273" y="398"/>
                  </a:lnTo>
                  <a:lnTo>
                    <a:pt x="269" y="397"/>
                  </a:lnTo>
                  <a:lnTo>
                    <a:pt x="263" y="396"/>
                  </a:lnTo>
                  <a:lnTo>
                    <a:pt x="259" y="397"/>
                  </a:lnTo>
                  <a:lnTo>
                    <a:pt x="254" y="398"/>
                  </a:lnTo>
                  <a:lnTo>
                    <a:pt x="251" y="400"/>
                  </a:lnTo>
                  <a:lnTo>
                    <a:pt x="247" y="403"/>
                  </a:lnTo>
                  <a:lnTo>
                    <a:pt x="168" y="482"/>
                  </a:lnTo>
                  <a:lnTo>
                    <a:pt x="168" y="25"/>
                  </a:lnTo>
                  <a:lnTo>
                    <a:pt x="167" y="20"/>
                  </a:lnTo>
                  <a:lnTo>
                    <a:pt x="166" y="16"/>
                  </a:lnTo>
                  <a:lnTo>
                    <a:pt x="164" y="11"/>
                  </a:lnTo>
                  <a:lnTo>
                    <a:pt x="160" y="8"/>
                  </a:lnTo>
                  <a:lnTo>
                    <a:pt x="157" y="5"/>
                  </a:lnTo>
                  <a:lnTo>
                    <a:pt x="153" y="3"/>
                  </a:lnTo>
                  <a:lnTo>
                    <a:pt x="148" y="1"/>
                  </a:lnTo>
                  <a:lnTo>
                    <a:pt x="144" y="0"/>
                  </a:lnTo>
                  <a:lnTo>
                    <a:pt x="139" y="1"/>
                  </a:lnTo>
                  <a:lnTo>
                    <a:pt x="135" y="3"/>
                  </a:lnTo>
                  <a:lnTo>
                    <a:pt x="131" y="5"/>
                  </a:lnTo>
                  <a:lnTo>
                    <a:pt x="127" y="8"/>
                  </a:lnTo>
                  <a:lnTo>
                    <a:pt x="124" y="11"/>
                  </a:lnTo>
                  <a:lnTo>
                    <a:pt x="122" y="16"/>
                  </a:lnTo>
                  <a:lnTo>
                    <a:pt x="121" y="20"/>
                  </a:lnTo>
                  <a:lnTo>
                    <a:pt x="120" y="25"/>
                  </a:lnTo>
                  <a:lnTo>
                    <a:pt x="120" y="482"/>
                  </a:lnTo>
                  <a:lnTo>
                    <a:pt x="41" y="403"/>
                  </a:lnTo>
                  <a:lnTo>
                    <a:pt x="37" y="400"/>
                  </a:lnTo>
                  <a:lnTo>
                    <a:pt x="33" y="398"/>
                  </a:lnTo>
                  <a:lnTo>
                    <a:pt x="29" y="397"/>
                  </a:lnTo>
                  <a:lnTo>
                    <a:pt x="25" y="396"/>
                  </a:lnTo>
                  <a:lnTo>
                    <a:pt x="19" y="397"/>
                  </a:lnTo>
                  <a:lnTo>
                    <a:pt x="15" y="398"/>
                  </a:lnTo>
                  <a:lnTo>
                    <a:pt x="11" y="400"/>
                  </a:lnTo>
                  <a:lnTo>
                    <a:pt x="7" y="403"/>
                  </a:lnTo>
                  <a:lnTo>
                    <a:pt x="4" y="407"/>
                  </a:lnTo>
                  <a:lnTo>
                    <a:pt x="1" y="411"/>
                  </a:lnTo>
                  <a:lnTo>
                    <a:pt x="0" y="416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1" y="430"/>
                  </a:lnTo>
                  <a:lnTo>
                    <a:pt x="4" y="434"/>
                  </a:lnTo>
                  <a:lnTo>
                    <a:pt x="7" y="438"/>
                  </a:lnTo>
                  <a:lnTo>
                    <a:pt x="127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8" name="Freeform 1761"/>
            <p:cNvSpPr/>
            <p:nvPr/>
          </p:nvSpPr>
          <p:spPr bwMode="auto">
            <a:xfrm>
              <a:off x="2044700" y="5054600"/>
              <a:ext cx="285750" cy="19050"/>
            </a:xfrm>
            <a:custGeom>
              <a:avLst/>
              <a:gdLst>
                <a:gd name="T0" fmla="*/ 695 w 718"/>
                <a:gd name="T1" fmla="*/ 0 h 47"/>
                <a:gd name="T2" fmla="*/ 23 w 718"/>
                <a:gd name="T3" fmla="*/ 0 h 47"/>
                <a:gd name="T4" fmla="*/ 19 w 718"/>
                <a:gd name="T5" fmla="*/ 0 h 47"/>
                <a:gd name="T6" fmla="*/ 14 w 718"/>
                <a:gd name="T7" fmla="*/ 2 h 47"/>
                <a:gd name="T8" fmla="*/ 10 w 718"/>
                <a:gd name="T9" fmla="*/ 4 h 47"/>
                <a:gd name="T10" fmla="*/ 7 w 718"/>
                <a:gd name="T11" fmla="*/ 6 h 47"/>
                <a:gd name="T12" fmla="*/ 3 w 718"/>
                <a:gd name="T13" fmla="*/ 10 h 47"/>
                <a:gd name="T14" fmla="*/ 1 w 718"/>
                <a:gd name="T15" fmla="*/ 14 h 47"/>
                <a:gd name="T16" fmla="*/ 0 w 718"/>
                <a:gd name="T17" fmla="*/ 18 h 47"/>
                <a:gd name="T18" fmla="*/ 0 w 718"/>
                <a:gd name="T19" fmla="*/ 24 h 47"/>
                <a:gd name="T20" fmla="*/ 0 w 718"/>
                <a:gd name="T21" fmla="*/ 28 h 47"/>
                <a:gd name="T22" fmla="*/ 1 w 718"/>
                <a:gd name="T23" fmla="*/ 33 h 47"/>
                <a:gd name="T24" fmla="*/ 3 w 718"/>
                <a:gd name="T25" fmla="*/ 37 h 47"/>
                <a:gd name="T26" fmla="*/ 7 w 718"/>
                <a:gd name="T27" fmla="*/ 41 h 47"/>
                <a:gd name="T28" fmla="*/ 10 w 718"/>
                <a:gd name="T29" fmla="*/ 43 h 47"/>
                <a:gd name="T30" fmla="*/ 14 w 718"/>
                <a:gd name="T31" fmla="*/ 46 h 47"/>
                <a:gd name="T32" fmla="*/ 19 w 718"/>
                <a:gd name="T33" fmla="*/ 47 h 47"/>
                <a:gd name="T34" fmla="*/ 23 w 718"/>
                <a:gd name="T35" fmla="*/ 47 h 47"/>
                <a:gd name="T36" fmla="*/ 695 w 718"/>
                <a:gd name="T37" fmla="*/ 47 h 47"/>
                <a:gd name="T38" fmla="*/ 699 w 718"/>
                <a:gd name="T39" fmla="*/ 47 h 47"/>
                <a:gd name="T40" fmla="*/ 703 w 718"/>
                <a:gd name="T41" fmla="*/ 46 h 47"/>
                <a:gd name="T42" fmla="*/ 708 w 718"/>
                <a:gd name="T43" fmla="*/ 44 h 47"/>
                <a:gd name="T44" fmla="*/ 711 w 718"/>
                <a:gd name="T45" fmla="*/ 41 h 47"/>
                <a:gd name="T46" fmla="*/ 714 w 718"/>
                <a:gd name="T47" fmla="*/ 37 h 47"/>
                <a:gd name="T48" fmla="*/ 717 w 718"/>
                <a:gd name="T49" fmla="*/ 33 h 47"/>
                <a:gd name="T50" fmla="*/ 718 w 718"/>
                <a:gd name="T51" fmla="*/ 28 h 47"/>
                <a:gd name="T52" fmla="*/ 718 w 718"/>
                <a:gd name="T53" fmla="*/ 24 h 47"/>
                <a:gd name="T54" fmla="*/ 718 w 718"/>
                <a:gd name="T55" fmla="*/ 18 h 47"/>
                <a:gd name="T56" fmla="*/ 717 w 718"/>
                <a:gd name="T57" fmla="*/ 14 h 47"/>
                <a:gd name="T58" fmla="*/ 714 w 718"/>
                <a:gd name="T59" fmla="*/ 10 h 47"/>
                <a:gd name="T60" fmla="*/ 711 w 718"/>
                <a:gd name="T61" fmla="*/ 6 h 47"/>
                <a:gd name="T62" fmla="*/ 708 w 718"/>
                <a:gd name="T63" fmla="*/ 4 h 47"/>
                <a:gd name="T64" fmla="*/ 703 w 718"/>
                <a:gd name="T65" fmla="*/ 2 h 47"/>
                <a:gd name="T66" fmla="*/ 699 w 718"/>
                <a:gd name="T67" fmla="*/ 0 h 47"/>
                <a:gd name="T68" fmla="*/ 695 w 718"/>
                <a:gd name="T6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8" h="47">
                  <a:moveTo>
                    <a:pt x="695" y="0"/>
                  </a:moveTo>
                  <a:lnTo>
                    <a:pt x="23" y="0"/>
                  </a:lnTo>
                  <a:lnTo>
                    <a:pt x="19" y="0"/>
                  </a:lnTo>
                  <a:lnTo>
                    <a:pt x="14" y="2"/>
                  </a:lnTo>
                  <a:lnTo>
                    <a:pt x="10" y="4"/>
                  </a:lnTo>
                  <a:lnTo>
                    <a:pt x="7" y="6"/>
                  </a:lnTo>
                  <a:lnTo>
                    <a:pt x="3" y="10"/>
                  </a:lnTo>
                  <a:lnTo>
                    <a:pt x="1" y="14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1" y="33"/>
                  </a:lnTo>
                  <a:lnTo>
                    <a:pt x="3" y="37"/>
                  </a:lnTo>
                  <a:lnTo>
                    <a:pt x="7" y="41"/>
                  </a:lnTo>
                  <a:lnTo>
                    <a:pt x="10" y="43"/>
                  </a:lnTo>
                  <a:lnTo>
                    <a:pt x="14" y="46"/>
                  </a:lnTo>
                  <a:lnTo>
                    <a:pt x="19" y="47"/>
                  </a:lnTo>
                  <a:lnTo>
                    <a:pt x="23" y="47"/>
                  </a:lnTo>
                  <a:lnTo>
                    <a:pt x="695" y="47"/>
                  </a:lnTo>
                  <a:lnTo>
                    <a:pt x="699" y="47"/>
                  </a:lnTo>
                  <a:lnTo>
                    <a:pt x="703" y="46"/>
                  </a:lnTo>
                  <a:lnTo>
                    <a:pt x="708" y="44"/>
                  </a:lnTo>
                  <a:lnTo>
                    <a:pt x="711" y="41"/>
                  </a:lnTo>
                  <a:lnTo>
                    <a:pt x="714" y="37"/>
                  </a:lnTo>
                  <a:lnTo>
                    <a:pt x="717" y="33"/>
                  </a:lnTo>
                  <a:lnTo>
                    <a:pt x="718" y="28"/>
                  </a:lnTo>
                  <a:lnTo>
                    <a:pt x="718" y="24"/>
                  </a:lnTo>
                  <a:lnTo>
                    <a:pt x="718" y="18"/>
                  </a:lnTo>
                  <a:lnTo>
                    <a:pt x="717" y="14"/>
                  </a:lnTo>
                  <a:lnTo>
                    <a:pt x="714" y="10"/>
                  </a:lnTo>
                  <a:lnTo>
                    <a:pt x="711" y="6"/>
                  </a:lnTo>
                  <a:lnTo>
                    <a:pt x="708" y="4"/>
                  </a:lnTo>
                  <a:lnTo>
                    <a:pt x="703" y="2"/>
                  </a:lnTo>
                  <a:lnTo>
                    <a:pt x="699" y="0"/>
                  </a:lnTo>
                  <a:lnTo>
                    <a:pt x="6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6096625" y="1422592"/>
            <a:ext cx="566901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096625" y="3212068"/>
            <a:ext cx="566901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096625" y="5031626"/>
            <a:ext cx="566901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Types of Technical Writing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351711" y="1495108"/>
            <a:ext cx="8113486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tr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ur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a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Integer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ler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nd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i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ab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te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eifen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stibulum.</a:t>
            </a:r>
            <a:endParaRPr lang="id-ID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3086822" y="1312636"/>
            <a:ext cx="0" cy="1349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26804" y="1802884"/>
            <a:ext cx="20951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Technical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351711" y="3152712"/>
            <a:ext cx="8113486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tr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ur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a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Integer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ler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nd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i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ab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te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eifen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stibulum.</a:t>
            </a:r>
            <a:endParaRPr lang="id-ID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3086822" y="2970240"/>
            <a:ext cx="0" cy="1349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726804" y="3460488"/>
            <a:ext cx="20951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Online Help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351711" y="4706906"/>
            <a:ext cx="8113486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tr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ur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a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Integer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ler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nd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i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ab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te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eifen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stibulum.</a:t>
            </a:r>
            <a:endParaRPr lang="id-ID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3086822" y="4524434"/>
            <a:ext cx="0" cy="1349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726804" y="5014682"/>
            <a:ext cx="20951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Proposals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ing Process 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cxnSp>
        <p:nvCxnSpPr>
          <p:cNvPr id="22" name="Straight Connector 21"/>
          <p:cNvCxnSpPr/>
          <p:nvPr/>
        </p:nvCxnSpPr>
        <p:spPr>
          <a:xfrm>
            <a:off x="0" y="3581400"/>
            <a:ext cx="12192000" cy="0"/>
          </a:xfrm>
          <a:prstGeom prst="line">
            <a:avLst/>
          </a:prstGeom>
          <a:ln w="571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iamond 22"/>
          <p:cNvSpPr/>
          <p:nvPr/>
        </p:nvSpPr>
        <p:spPr>
          <a:xfrm>
            <a:off x="885630" y="3077492"/>
            <a:ext cx="1007816" cy="1007816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Diamond 23"/>
          <p:cNvSpPr/>
          <p:nvPr/>
        </p:nvSpPr>
        <p:spPr>
          <a:xfrm>
            <a:off x="3238861" y="3077492"/>
            <a:ext cx="1007816" cy="1007816"/>
          </a:xfrm>
          <a:prstGeom prst="diamond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iamond 24"/>
          <p:cNvSpPr/>
          <p:nvPr/>
        </p:nvSpPr>
        <p:spPr>
          <a:xfrm>
            <a:off x="5592092" y="3077492"/>
            <a:ext cx="1007816" cy="1007816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Diamond 25"/>
          <p:cNvSpPr/>
          <p:nvPr/>
        </p:nvSpPr>
        <p:spPr>
          <a:xfrm>
            <a:off x="7945323" y="3077492"/>
            <a:ext cx="1007816" cy="1007816"/>
          </a:xfrm>
          <a:prstGeom prst="diamond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iamond 26"/>
          <p:cNvSpPr/>
          <p:nvPr/>
        </p:nvSpPr>
        <p:spPr>
          <a:xfrm>
            <a:off x="10298555" y="3077492"/>
            <a:ext cx="1007816" cy="1007816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607678" y="2578478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EARCH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53182" y="4323849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60909" y="4323849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WIPE FILES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906413" y="1562815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314140" y="2578478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RGANIZE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59644" y="4323849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667371" y="4323849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DIT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612875" y="1562815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020603" y="2578478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ALIZE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966107" y="4323849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" name="Freeform 3886"/>
          <p:cNvSpPr>
            <a:spLocks noEditPoints="1"/>
          </p:cNvSpPr>
          <p:nvPr/>
        </p:nvSpPr>
        <p:spPr bwMode="auto">
          <a:xfrm>
            <a:off x="1245869" y="3438525"/>
            <a:ext cx="287338" cy="285750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86" name="Group 85"/>
          <p:cNvGrpSpPr/>
          <p:nvPr/>
        </p:nvGrpSpPr>
        <p:grpSpPr>
          <a:xfrm>
            <a:off x="3619738" y="3451225"/>
            <a:ext cx="246063" cy="260350"/>
            <a:chOff x="11053763" y="376238"/>
            <a:chExt cx="246063" cy="260350"/>
          </a:xfrm>
          <a:solidFill>
            <a:schemeClr val="bg1"/>
          </a:solidFill>
        </p:grpSpPr>
        <p:sp>
          <p:nvSpPr>
            <p:cNvPr id="87" name="Freeform 4533"/>
            <p:cNvSpPr/>
            <p:nvPr/>
          </p:nvSpPr>
          <p:spPr bwMode="auto">
            <a:xfrm>
              <a:off x="11133138" y="427038"/>
              <a:ext cx="166688" cy="209550"/>
            </a:xfrm>
            <a:custGeom>
              <a:avLst/>
              <a:gdLst>
                <a:gd name="T0" fmla="*/ 287 w 527"/>
                <a:gd name="T1" fmla="*/ 243 h 662"/>
                <a:gd name="T2" fmla="*/ 285 w 527"/>
                <a:gd name="T3" fmla="*/ 46 h 662"/>
                <a:gd name="T4" fmla="*/ 283 w 527"/>
                <a:gd name="T5" fmla="*/ 35 h 662"/>
                <a:gd name="T6" fmla="*/ 276 w 527"/>
                <a:gd name="T7" fmla="*/ 21 h 662"/>
                <a:gd name="T8" fmla="*/ 262 w 527"/>
                <a:gd name="T9" fmla="*/ 8 h 662"/>
                <a:gd name="T10" fmla="*/ 244 w 527"/>
                <a:gd name="T11" fmla="*/ 1 h 662"/>
                <a:gd name="T12" fmla="*/ 203 w 527"/>
                <a:gd name="T13" fmla="*/ 0 h 662"/>
                <a:gd name="T14" fmla="*/ 184 w 527"/>
                <a:gd name="T15" fmla="*/ 3 h 662"/>
                <a:gd name="T16" fmla="*/ 167 w 527"/>
                <a:gd name="T17" fmla="*/ 13 h 662"/>
                <a:gd name="T18" fmla="*/ 156 w 527"/>
                <a:gd name="T19" fmla="*/ 30 h 662"/>
                <a:gd name="T20" fmla="*/ 152 w 527"/>
                <a:gd name="T21" fmla="*/ 40 h 662"/>
                <a:gd name="T22" fmla="*/ 151 w 527"/>
                <a:gd name="T23" fmla="*/ 52 h 662"/>
                <a:gd name="T24" fmla="*/ 119 w 527"/>
                <a:gd name="T25" fmla="*/ 318 h 662"/>
                <a:gd name="T26" fmla="*/ 112 w 527"/>
                <a:gd name="T27" fmla="*/ 311 h 662"/>
                <a:gd name="T28" fmla="*/ 103 w 527"/>
                <a:gd name="T29" fmla="*/ 305 h 662"/>
                <a:gd name="T30" fmla="*/ 92 w 527"/>
                <a:gd name="T31" fmla="*/ 301 h 662"/>
                <a:gd name="T32" fmla="*/ 82 w 527"/>
                <a:gd name="T33" fmla="*/ 300 h 662"/>
                <a:gd name="T34" fmla="*/ 38 w 527"/>
                <a:gd name="T35" fmla="*/ 301 h 662"/>
                <a:gd name="T36" fmla="*/ 28 w 527"/>
                <a:gd name="T37" fmla="*/ 305 h 662"/>
                <a:gd name="T38" fmla="*/ 18 w 527"/>
                <a:gd name="T39" fmla="*/ 310 h 662"/>
                <a:gd name="T40" fmla="*/ 9 w 527"/>
                <a:gd name="T41" fmla="*/ 318 h 662"/>
                <a:gd name="T42" fmla="*/ 3 w 527"/>
                <a:gd name="T43" fmla="*/ 328 h 662"/>
                <a:gd name="T44" fmla="*/ 0 w 527"/>
                <a:gd name="T45" fmla="*/ 339 h 662"/>
                <a:gd name="T46" fmla="*/ 0 w 527"/>
                <a:gd name="T47" fmla="*/ 350 h 662"/>
                <a:gd name="T48" fmla="*/ 3 w 527"/>
                <a:gd name="T49" fmla="*/ 361 h 662"/>
                <a:gd name="T50" fmla="*/ 144 w 527"/>
                <a:gd name="T51" fmla="*/ 639 h 662"/>
                <a:gd name="T52" fmla="*/ 152 w 527"/>
                <a:gd name="T53" fmla="*/ 649 h 662"/>
                <a:gd name="T54" fmla="*/ 164 w 527"/>
                <a:gd name="T55" fmla="*/ 656 h 662"/>
                <a:gd name="T56" fmla="*/ 176 w 527"/>
                <a:gd name="T57" fmla="*/ 660 h 662"/>
                <a:gd name="T58" fmla="*/ 188 w 527"/>
                <a:gd name="T59" fmla="*/ 662 h 662"/>
                <a:gd name="T60" fmla="*/ 436 w 527"/>
                <a:gd name="T61" fmla="*/ 662 h 662"/>
                <a:gd name="T62" fmla="*/ 447 w 527"/>
                <a:gd name="T63" fmla="*/ 658 h 662"/>
                <a:gd name="T64" fmla="*/ 456 w 527"/>
                <a:gd name="T65" fmla="*/ 651 h 662"/>
                <a:gd name="T66" fmla="*/ 464 w 527"/>
                <a:gd name="T67" fmla="*/ 640 h 662"/>
                <a:gd name="T68" fmla="*/ 527 w 527"/>
                <a:gd name="T69" fmla="*/ 365 h 662"/>
                <a:gd name="T70" fmla="*/ 527 w 527"/>
                <a:gd name="T71" fmla="*/ 363 h 662"/>
                <a:gd name="T72" fmla="*/ 525 w 527"/>
                <a:gd name="T73" fmla="*/ 348 h 662"/>
                <a:gd name="T74" fmla="*/ 519 w 527"/>
                <a:gd name="T75" fmla="*/ 335 h 662"/>
                <a:gd name="T76" fmla="*/ 511 w 527"/>
                <a:gd name="T77" fmla="*/ 325 h 662"/>
                <a:gd name="T78" fmla="*/ 500 w 527"/>
                <a:gd name="T79" fmla="*/ 319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7" h="662">
                  <a:moveTo>
                    <a:pt x="500" y="319"/>
                  </a:moveTo>
                  <a:lnTo>
                    <a:pt x="287" y="243"/>
                  </a:lnTo>
                  <a:lnTo>
                    <a:pt x="287" y="52"/>
                  </a:lnTo>
                  <a:lnTo>
                    <a:pt x="285" y="46"/>
                  </a:lnTo>
                  <a:lnTo>
                    <a:pt x="285" y="40"/>
                  </a:lnTo>
                  <a:lnTo>
                    <a:pt x="283" y="35"/>
                  </a:lnTo>
                  <a:lnTo>
                    <a:pt x="282" y="30"/>
                  </a:lnTo>
                  <a:lnTo>
                    <a:pt x="276" y="21"/>
                  </a:lnTo>
                  <a:lnTo>
                    <a:pt x="270" y="13"/>
                  </a:lnTo>
                  <a:lnTo>
                    <a:pt x="262" y="8"/>
                  </a:lnTo>
                  <a:lnTo>
                    <a:pt x="253" y="3"/>
                  </a:lnTo>
                  <a:lnTo>
                    <a:pt x="244" y="1"/>
                  </a:lnTo>
                  <a:lnTo>
                    <a:pt x="234" y="0"/>
                  </a:lnTo>
                  <a:lnTo>
                    <a:pt x="203" y="0"/>
                  </a:lnTo>
                  <a:lnTo>
                    <a:pt x="194" y="1"/>
                  </a:lnTo>
                  <a:lnTo>
                    <a:pt x="184" y="3"/>
                  </a:lnTo>
                  <a:lnTo>
                    <a:pt x="176" y="8"/>
                  </a:lnTo>
                  <a:lnTo>
                    <a:pt x="167" y="13"/>
                  </a:lnTo>
                  <a:lnTo>
                    <a:pt x="160" y="21"/>
                  </a:lnTo>
                  <a:lnTo>
                    <a:pt x="156" y="30"/>
                  </a:lnTo>
                  <a:lnTo>
                    <a:pt x="153" y="35"/>
                  </a:lnTo>
                  <a:lnTo>
                    <a:pt x="152" y="40"/>
                  </a:lnTo>
                  <a:lnTo>
                    <a:pt x="151" y="46"/>
                  </a:lnTo>
                  <a:lnTo>
                    <a:pt x="151" y="52"/>
                  </a:lnTo>
                  <a:lnTo>
                    <a:pt x="151" y="371"/>
                  </a:lnTo>
                  <a:lnTo>
                    <a:pt x="119" y="318"/>
                  </a:lnTo>
                  <a:lnTo>
                    <a:pt x="115" y="315"/>
                  </a:lnTo>
                  <a:lnTo>
                    <a:pt x="112" y="311"/>
                  </a:lnTo>
                  <a:lnTo>
                    <a:pt x="107" y="308"/>
                  </a:lnTo>
                  <a:lnTo>
                    <a:pt x="103" y="305"/>
                  </a:lnTo>
                  <a:lnTo>
                    <a:pt x="98" y="304"/>
                  </a:lnTo>
                  <a:lnTo>
                    <a:pt x="92" y="301"/>
                  </a:lnTo>
                  <a:lnTo>
                    <a:pt x="88" y="300"/>
                  </a:lnTo>
                  <a:lnTo>
                    <a:pt x="82" y="300"/>
                  </a:lnTo>
                  <a:lnTo>
                    <a:pt x="45" y="301"/>
                  </a:lnTo>
                  <a:lnTo>
                    <a:pt x="38" y="301"/>
                  </a:lnTo>
                  <a:lnTo>
                    <a:pt x="33" y="302"/>
                  </a:lnTo>
                  <a:lnTo>
                    <a:pt x="28" y="305"/>
                  </a:lnTo>
                  <a:lnTo>
                    <a:pt x="22" y="307"/>
                  </a:lnTo>
                  <a:lnTo>
                    <a:pt x="18" y="310"/>
                  </a:lnTo>
                  <a:lnTo>
                    <a:pt x="13" y="314"/>
                  </a:lnTo>
                  <a:lnTo>
                    <a:pt x="9" y="318"/>
                  </a:lnTo>
                  <a:lnTo>
                    <a:pt x="7" y="323"/>
                  </a:lnTo>
                  <a:lnTo>
                    <a:pt x="3" y="328"/>
                  </a:lnTo>
                  <a:lnTo>
                    <a:pt x="2" y="333"/>
                  </a:lnTo>
                  <a:lnTo>
                    <a:pt x="0" y="339"/>
                  </a:lnTo>
                  <a:lnTo>
                    <a:pt x="0" y="344"/>
                  </a:lnTo>
                  <a:lnTo>
                    <a:pt x="0" y="350"/>
                  </a:lnTo>
                  <a:lnTo>
                    <a:pt x="1" y="356"/>
                  </a:lnTo>
                  <a:lnTo>
                    <a:pt x="3" y="361"/>
                  </a:lnTo>
                  <a:lnTo>
                    <a:pt x="5" y="367"/>
                  </a:lnTo>
                  <a:lnTo>
                    <a:pt x="144" y="639"/>
                  </a:lnTo>
                  <a:lnTo>
                    <a:pt x="148" y="645"/>
                  </a:lnTo>
                  <a:lnTo>
                    <a:pt x="152" y="649"/>
                  </a:lnTo>
                  <a:lnTo>
                    <a:pt x="158" y="653"/>
                  </a:lnTo>
                  <a:lnTo>
                    <a:pt x="164" y="656"/>
                  </a:lnTo>
                  <a:lnTo>
                    <a:pt x="170" y="658"/>
                  </a:lnTo>
                  <a:lnTo>
                    <a:pt x="176" y="660"/>
                  </a:lnTo>
                  <a:lnTo>
                    <a:pt x="183" y="662"/>
                  </a:lnTo>
                  <a:lnTo>
                    <a:pt x="188" y="662"/>
                  </a:lnTo>
                  <a:lnTo>
                    <a:pt x="429" y="662"/>
                  </a:lnTo>
                  <a:lnTo>
                    <a:pt x="436" y="662"/>
                  </a:lnTo>
                  <a:lnTo>
                    <a:pt x="441" y="660"/>
                  </a:lnTo>
                  <a:lnTo>
                    <a:pt x="447" y="658"/>
                  </a:lnTo>
                  <a:lnTo>
                    <a:pt x="452" y="655"/>
                  </a:lnTo>
                  <a:lnTo>
                    <a:pt x="456" y="651"/>
                  </a:lnTo>
                  <a:lnTo>
                    <a:pt x="461" y="646"/>
                  </a:lnTo>
                  <a:lnTo>
                    <a:pt x="464" y="640"/>
                  </a:lnTo>
                  <a:lnTo>
                    <a:pt x="467" y="633"/>
                  </a:lnTo>
                  <a:lnTo>
                    <a:pt x="527" y="365"/>
                  </a:lnTo>
                  <a:lnTo>
                    <a:pt x="527" y="363"/>
                  </a:lnTo>
                  <a:lnTo>
                    <a:pt x="527" y="363"/>
                  </a:lnTo>
                  <a:lnTo>
                    <a:pt x="527" y="356"/>
                  </a:lnTo>
                  <a:lnTo>
                    <a:pt x="525" y="348"/>
                  </a:lnTo>
                  <a:lnTo>
                    <a:pt x="523" y="341"/>
                  </a:lnTo>
                  <a:lnTo>
                    <a:pt x="519" y="335"/>
                  </a:lnTo>
                  <a:lnTo>
                    <a:pt x="516" y="330"/>
                  </a:lnTo>
                  <a:lnTo>
                    <a:pt x="511" y="325"/>
                  </a:lnTo>
                  <a:lnTo>
                    <a:pt x="506" y="322"/>
                  </a:lnTo>
                  <a:lnTo>
                    <a:pt x="500" y="319"/>
                  </a:lnTo>
                  <a:lnTo>
                    <a:pt x="500" y="3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4534"/>
            <p:cNvSpPr/>
            <p:nvPr/>
          </p:nvSpPr>
          <p:spPr bwMode="auto">
            <a:xfrm>
              <a:off x="11053763" y="376238"/>
              <a:ext cx="42863" cy="19050"/>
            </a:xfrm>
            <a:custGeom>
              <a:avLst/>
              <a:gdLst>
                <a:gd name="T0" fmla="*/ 106 w 137"/>
                <a:gd name="T1" fmla="*/ 0 h 60"/>
                <a:gd name="T2" fmla="*/ 31 w 137"/>
                <a:gd name="T3" fmla="*/ 0 h 60"/>
                <a:gd name="T4" fmla="*/ 25 w 137"/>
                <a:gd name="T5" fmla="*/ 0 h 60"/>
                <a:gd name="T6" fmla="*/ 19 w 137"/>
                <a:gd name="T7" fmla="*/ 2 h 60"/>
                <a:gd name="T8" fmla="*/ 14 w 137"/>
                <a:gd name="T9" fmla="*/ 4 h 60"/>
                <a:gd name="T10" fmla="*/ 9 w 137"/>
                <a:gd name="T11" fmla="*/ 9 h 60"/>
                <a:gd name="T12" fmla="*/ 6 w 137"/>
                <a:gd name="T13" fmla="*/ 12 h 60"/>
                <a:gd name="T14" fmla="*/ 3 w 137"/>
                <a:gd name="T15" fmla="*/ 18 h 60"/>
                <a:gd name="T16" fmla="*/ 1 w 137"/>
                <a:gd name="T17" fmla="*/ 23 h 60"/>
                <a:gd name="T18" fmla="*/ 0 w 137"/>
                <a:gd name="T19" fmla="*/ 29 h 60"/>
                <a:gd name="T20" fmla="*/ 1 w 137"/>
                <a:gd name="T21" fmla="*/ 36 h 60"/>
                <a:gd name="T22" fmla="*/ 3 w 137"/>
                <a:gd name="T23" fmla="*/ 41 h 60"/>
                <a:gd name="T24" fmla="*/ 6 w 137"/>
                <a:gd name="T25" fmla="*/ 46 h 60"/>
                <a:gd name="T26" fmla="*/ 9 w 137"/>
                <a:gd name="T27" fmla="*/ 50 h 60"/>
                <a:gd name="T28" fmla="*/ 14 w 137"/>
                <a:gd name="T29" fmla="*/ 55 h 60"/>
                <a:gd name="T30" fmla="*/ 19 w 137"/>
                <a:gd name="T31" fmla="*/ 57 h 60"/>
                <a:gd name="T32" fmla="*/ 25 w 137"/>
                <a:gd name="T33" fmla="*/ 60 h 60"/>
                <a:gd name="T34" fmla="*/ 31 w 137"/>
                <a:gd name="T35" fmla="*/ 60 h 60"/>
                <a:gd name="T36" fmla="*/ 106 w 137"/>
                <a:gd name="T37" fmla="*/ 60 h 60"/>
                <a:gd name="T38" fmla="*/ 113 w 137"/>
                <a:gd name="T39" fmla="*/ 58 h 60"/>
                <a:gd name="T40" fmla="*/ 119 w 137"/>
                <a:gd name="T41" fmla="*/ 57 h 60"/>
                <a:gd name="T42" fmla="*/ 123 w 137"/>
                <a:gd name="T43" fmla="*/ 54 h 60"/>
                <a:gd name="T44" fmla="*/ 128 w 137"/>
                <a:gd name="T45" fmla="*/ 50 h 60"/>
                <a:gd name="T46" fmla="*/ 131 w 137"/>
                <a:gd name="T47" fmla="*/ 46 h 60"/>
                <a:gd name="T48" fmla="*/ 135 w 137"/>
                <a:gd name="T49" fmla="*/ 41 h 60"/>
                <a:gd name="T50" fmla="*/ 136 w 137"/>
                <a:gd name="T51" fmla="*/ 36 h 60"/>
                <a:gd name="T52" fmla="*/ 137 w 137"/>
                <a:gd name="T53" fmla="*/ 29 h 60"/>
                <a:gd name="T54" fmla="*/ 136 w 137"/>
                <a:gd name="T55" fmla="*/ 23 h 60"/>
                <a:gd name="T56" fmla="*/ 135 w 137"/>
                <a:gd name="T57" fmla="*/ 18 h 60"/>
                <a:gd name="T58" fmla="*/ 131 w 137"/>
                <a:gd name="T59" fmla="*/ 12 h 60"/>
                <a:gd name="T60" fmla="*/ 128 w 137"/>
                <a:gd name="T61" fmla="*/ 9 h 60"/>
                <a:gd name="T62" fmla="*/ 123 w 137"/>
                <a:gd name="T63" fmla="*/ 4 h 60"/>
                <a:gd name="T64" fmla="*/ 119 w 137"/>
                <a:gd name="T65" fmla="*/ 2 h 60"/>
                <a:gd name="T66" fmla="*/ 113 w 137"/>
                <a:gd name="T67" fmla="*/ 0 h 60"/>
                <a:gd name="T68" fmla="*/ 106 w 137"/>
                <a:gd name="T69" fmla="*/ 0 h 60"/>
                <a:gd name="T70" fmla="*/ 106 w 137"/>
                <a:gd name="T7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7" h="60">
                  <a:moveTo>
                    <a:pt x="106" y="0"/>
                  </a:moveTo>
                  <a:lnTo>
                    <a:pt x="31" y="0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9" y="9"/>
                  </a:lnTo>
                  <a:lnTo>
                    <a:pt x="6" y="12"/>
                  </a:lnTo>
                  <a:lnTo>
                    <a:pt x="3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3" y="41"/>
                  </a:lnTo>
                  <a:lnTo>
                    <a:pt x="6" y="46"/>
                  </a:lnTo>
                  <a:lnTo>
                    <a:pt x="9" y="50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1" y="60"/>
                  </a:lnTo>
                  <a:lnTo>
                    <a:pt x="106" y="60"/>
                  </a:lnTo>
                  <a:lnTo>
                    <a:pt x="113" y="58"/>
                  </a:lnTo>
                  <a:lnTo>
                    <a:pt x="119" y="57"/>
                  </a:lnTo>
                  <a:lnTo>
                    <a:pt x="123" y="54"/>
                  </a:lnTo>
                  <a:lnTo>
                    <a:pt x="128" y="50"/>
                  </a:lnTo>
                  <a:lnTo>
                    <a:pt x="131" y="46"/>
                  </a:lnTo>
                  <a:lnTo>
                    <a:pt x="135" y="41"/>
                  </a:lnTo>
                  <a:lnTo>
                    <a:pt x="136" y="36"/>
                  </a:lnTo>
                  <a:lnTo>
                    <a:pt x="137" y="29"/>
                  </a:lnTo>
                  <a:lnTo>
                    <a:pt x="136" y="23"/>
                  </a:lnTo>
                  <a:lnTo>
                    <a:pt x="135" y="18"/>
                  </a:lnTo>
                  <a:lnTo>
                    <a:pt x="131" y="12"/>
                  </a:lnTo>
                  <a:lnTo>
                    <a:pt x="128" y="9"/>
                  </a:lnTo>
                  <a:lnTo>
                    <a:pt x="123" y="4"/>
                  </a:lnTo>
                  <a:lnTo>
                    <a:pt x="119" y="2"/>
                  </a:lnTo>
                  <a:lnTo>
                    <a:pt x="113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4535"/>
            <p:cNvSpPr/>
            <p:nvPr/>
          </p:nvSpPr>
          <p:spPr bwMode="auto">
            <a:xfrm>
              <a:off x="11053763" y="423863"/>
              <a:ext cx="42863" cy="19050"/>
            </a:xfrm>
            <a:custGeom>
              <a:avLst/>
              <a:gdLst>
                <a:gd name="T0" fmla="*/ 106 w 137"/>
                <a:gd name="T1" fmla="*/ 0 h 60"/>
                <a:gd name="T2" fmla="*/ 31 w 137"/>
                <a:gd name="T3" fmla="*/ 0 h 60"/>
                <a:gd name="T4" fmla="*/ 25 w 137"/>
                <a:gd name="T5" fmla="*/ 1 h 60"/>
                <a:gd name="T6" fmla="*/ 19 w 137"/>
                <a:gd name="T7" fmla="*/ 2 h 60"/>
                <a:gd name="T8" fmla="*/ 14 w 137"/>
                <a:gd name="T9" fmla="*/ 6 h 60"/>
                <a:gd name="T10" fmla="*/ 9 w 137"/>
                <a:gd name="T11" fmla="*/ 9 h 60"/>
                <a:gd name="T12" fmla="*/ 6 w 137"/>
                <a:gd name="T13" fmla="*/ 13 h 60"/>
                <a:gd name="T14" fmla="*/ 3 w 137"/>
                <a:gd name="T15" fmla="*/ 18 h 60"/>
                <a:gd name="T16" fmla="*/ 1 w 137"/>
                <a:gd name="T17" fmla="*/ 24 h 60"/>
                <a:gd name="T18" fmla="*/ 0 w 137"/>
                <a:gd name="T19" fmla="*/ 30 h 60"/>
                <a:gd name="T20" fmla="*/ 1 w 137"/>
                <a:gd name="T21" fmla="*/ 36 h 60"/>
                <a:gd name="T22" fmla="*/ 3 w 137"/>
                <a:gd name="T23" fmla="*/ 42 h 60"/>
                <a:gd name="T24" fmla="*/ 6 w 137"/>
                <a:gd name="T25" fmla="*/ 47 h 60"/>
                <a:gd name="T26" fmla="*/ 9 w 137"/>
                <a:gd name="T27" fmla="*/ 52 h 60"/>
                <a:gd name="T28" fmla="*/ 14 w 137"/>
                <a:gd name="T29" fmla="*/ 55 h 60"/>
                <a:gd name="T30" fmla="*/ 19 w 137"/>
                <a:gd name="T31" fmla="*/ 57 h 60"/>
                <a:gd name="T32" fmla="*/ 25 w 137"/>
                <a:gd name="T33" fmla="*/ 60 h 60"/>
                <a:gd name="T34" fmla="*/ 31 w 137"/>
                <a:gd name="T35" fmla="*/ 60 h 60"/>
                <a:gd name="T36" fmla="*/ 106 w 137"/>
                <a:gd name="T37" fmla="*/ 60 h 60"/>
                <a:gd name="T38" fmla="*/ 113 w 137"/>
                <a:gd name="T39" fmla="*/ 60 h 60"/>
                <a:gd name="T40" fmla="*/ 119 w 137"/>
                <a:gd name="T41" fmla="*/ 57 h 60"/>
                <a:gd name="T42" fmla="*/ 123 w 137"/>
                <a:gd name="T43" fmla="*/ 55 h 60"/>
                <a:gd name="T44" fmla="*/ 128 w 137"/>
                <a:gd name="T45" fmla="*/ 52 h 60"/>
                <a:gd name="T46" fmla="*/ 131 w 137"/>
                <a:gd name="T47" fmla="*/ 47 h 60"/>
                <a:gd name="T48" fmla="*/ 135 w 137"/>
                <a:gd name="T49" fmla="*/ 42 h 60"/>
                <a:gd name="T50" fmla="*/ 136 w 137"/>
                <a:gd name="T51" fmla="*/ 36 h 60"/>
                <a:gd name="T52" fmla="*/ 137 w 137"/>
                <a:gd name="T53" fmla="*/ 30 h 60"/>
                <a:gd name="T54" fmla="*/ 136 w 137"/>
                <a:gd name="T55" fmla="*/ 24 h 60"/>
                <a:gd name="T56" fmla="*/ 135 w 137"/>
                <a:gd name="T57" fmla="*/ 18 h 60"/>
                <a:gd name="T58" fmla="*/ 131 w 137"/>
                <a:gd name="T59" fmla="*/ 13 h 60"/>
                <a:gd name="T60" fmla="*/ 128 w 137"/>
                <a:gd name="T61" fmla="*/ 9 h 60"/>
                <a:gd name="T62" fmla="*/ 123 w 137"/>
                <a:gd name="T63" fmla="*/ 6 h 60"/>
                <a:gd name="T64" fmla="*/ 119 w 137"/>
                <a:gd name="T65" fmla="*/ 2 h 60"/>
                <a:gd name="T66" fmla="*/ 113 w 137"/>
                <a:gd name="T67" fmla="*/ 1 h 60"/>
                <a:gd name="T68" fmla="*/ 106 w 137"/>
                <a:gd name="T69" fmla="*/ 0 h 60"/>
                <a:gd name="T70" fmla="*/ 106 w 137"/>
                <a:gd name="T7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7" h="60">
                  <a:moveTo>
                    <a:pt x="106" y="0"/>
                  </a:moveTo>
                  <a:lnTo>
                    <a:pt x="31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3"/>
                  </a:lnTo>
                  <a:lnTo>
                    <a:pt x="3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3" y="42"/>
                  </a:lnTo>
                  <a:lnTo>
                    <a:pt x="6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1" y="60"/>
                  </a:lnTo>
                  <a:lnTo>
                    <a:pt x="106" y="60"/>
                  </a:lnTo>
                  <a:lnTo>
                    <a:pt x="113" y="60"/>
                  </a:lnTo>
                  <a:lnTo>
                    <a:pt x="119" y="57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7"/>
                  </a:lnTo>
                  <a:lnTo>
                    <a:pt x="135" y="42"/>
                  </a:lnTo>
                  <a:lnTo>
                    <a:pt x="136" y="36"/>
                  </a:lnTo>
                  <a:lnTo>
                    <a:pt x="137" y="30"/>
                  </a:lnTo>
                  <a:lnTo>
                    <a:pt x="136" y="24"/>
                  </a:lnTo>
                  <a:lnTo>
                    <a:pt x="135" y="18"/>
                  </a:lnTo>
                  <a:lnTo>
                    <a:pt x="131" y="13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9" y="2"/>
                  </a:lnTo>
                  <a:lnTo>
                    <a:pt x="113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4536"/>
            <p:cNvSpPr/>
            <p:nvPr/>
          </p:nvSpPr>
          <p:spPr bwMode="auto">
            <a:xfrm>
              <a:off x="11053763" y="471488"/>
              <a:ext cx="42863" cy="19050"/>
            </a:xfrm>
            <a:custGeom>
              <a:avLst/>
              <a:gdLst>
                <a:gd name="T0" fmla="*/ 106 w 136"/>
                <a:gd name="T1" fmla="*/ 0 h 61"/>
                <a:gd name="T2" fmla="*/ 31 w 136"/>
                <a:gd name="T3" fmla="*/ 0 h 61"/>
                <a:gd name="T4" fmla="*/ 25 w 136"/>
                <a:gd name="T5" fmla="*/ 1 h 61"/>
                <a:gd name="T6" fmla="*/ 19 w 136"/>
                <a:gd name="T7" fmla="*/ 2 h 61"/>
                <a:gd name="T8" fmla="*/ 14 w 136"/>
                <a:gd name="T9" fmla="*/ 6 h 61"/>
                <a:gd name="T10" fmla="*/ 9 w 136"/>
                <a:gd name="T11" fmla="*/ 9 h 61"/>
                <a:gd name="T12" fmla="*/ 6 w 136"/>
                <a:gd name="T13" fmla="*/ 14 h 61"/>
                <a:gd name="T14" fmla="*/ 3 w 136"/>
                <a:gd name="T15" fmla="*/ 19 h 61"/>
                <a:gd name="T16" fmla="*/ 1 w 136"/>
                <a:gd name="T17" fmla="*/ 25 h 61"/>
                <a:gd name="T18" fmla="*/ 0 w 136"/>
                <a:gd name="T19" fmla="*/ 31 h 61"/>
                <a:gd name="T20" fmla="*/ 1 w 136"/>
                <a:gd name="T21" fmla="*/ 36 h 61"/>
                <a:gd name="T22" fmla="*/ 3 w 136"/>
                <a:gd name="T23" fmla="*/ 42 h 61"/>
                <a:gd name="T24" fmla="*/ 6 w 136"/>
                <a:gd name="T25" fmla="*/ 48 h 61"/>
                <a:gd name="T26" fmla="*/ 9 w 136"/>
                <a:gd name="T27" fmla="*/ 52 h 61"/>
                <a:gd name="T28" fmla="*/ 14 w 136"/>
                <a:gd name="T29" fmla="*/ 55 h 61"/>
                <a:gd name="T30" fmla="*/ 19 w 136"/>
                <a:gd name="T31" fmla="*/ 59 h 61"/>
                <a:gd name="T32" fmla="*/ 25 w 136"/>
                <a:gd name="T33" fmla="*/ 60 h 61"/>
                <a:gd name="T34" fmla="*/ 31 w 136"/>
                <a:gd name="T35" fmla="*/ 61 h 61"/>
                <a:gd name="T36" fmla="*/ 106 w 136"/>
                <a:gd name="T37" fmla="*/ 61 h 61"/>
                <a:gd name="T38" fmla="*/ 112 w 136"/>
                <a:gd name="T39" fmla="*/ 60 h 61"/>
                <a:gd name="T40" fmla="*/ 118 w 136"/>
                <a:gd name="T41" fmla="*/ 59 h 61"/>
                <a:gd name="T42" fmla="*/ 123 w 136"/>
                <a:gd name="T43" fmla="*/ 55 h 61"/>
                <a:gd name="T44" fmla="*/ 128 w 136"/>
                <a:gd name="T45" fmla="*/ 52 h 61"/>
                <a:gd name="T46" fmla="*/ 131 w 136"/>
                <a:gd name="T47" fmla="*/ 48 h 61"/>
                <a:gd name="T48" fmla="*/ 134 w 136"/>
                <a:gd name="T49" fmla="*/ 42 h 61"/>
                <a:gd name="T50" fmla="*/ 136 w 136"/>
                <a:gd name="T51" fmla="*/ 36 h 61"/>
                <a:gd name="T52" fmla="*/ 136 w 136"/>
                <a:gd name="T53" fmla="*/ 31 h 61"/>
                <a:gd name="T54" fmla="*/ 136 w 136"/>
                <a:gd name="T55" fmla="*/ 25 h 61"/>
                <a:gd name="T56" fmla="*/ 134 w 136"/>
                <a:gd name="T57" fmla="*/ 19 h 61"/>
                <a:gd name="T58" fmla="*/ 131 w 136"/>
                <a:gd name="T59" fmla="*/ 14 h 61"/>
                <a:gd name="T60" fmla="*/ 128 w 136"/>
                <a:gd name="T61" fmla="*/ 9 h 61"/>
                <a:gd name="T62" fmla="*/ 123 w 136"/>
                <a:gd name="T63" fmla="*/ 6 h 61"/>
                <a:gd name="T64" fmla="*/ 118 w 136"/>
                <a:gd name="T65" fmla="*/ 3 h 61"/>
                <a:gd name="T66" fmla="*/ 112 w 136"/>
                <a:gd name="T67" fmla="*/ 1 h 61"/>
                <a:gd name="T68" fmla="*/ 106 w 136"/>
                <a:gd name="T69" fmla="*/ 0 h 61"/>
                <a:gd name="T70" fmla="*/ 106 w 136"/>
                <a:gd name="T7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6" h="61">
                  <a:moveTo>
                    <a:pt x="106" y="0"/>
                  </a:moveTo>
                  <a:lnTo>
                    <a:pt x="31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4"/>
                  </a:lnTo>
                  <a:lnTo>
                    <a:pt x="3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1" y="36"/>
                  </a:lnTo>
                  <a:lnTo>
                    <a:pt x="3" y="42"/>
                  </a:lnTo>
                  <a:lnTo>
                    <a:pt x="6" y="48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9"/>
                  </a:lnTo>
                  <a:lnTo>
                    <a:pt x="25" y="60"/>
                  </a:lnTo>
                  <a:lnTo>
                    <a:pt x="31" y="61"/>
                  </a:lnTo>
                  <a:lnTo>
                    <a:pt x="106" y="61"/>
                  </a:lnTo>
                  <a:lnTo>
                    <a:pt x="112" y="60"/>
                  </a:lnTo>
                  <a:lnTo>
                    <a:pt x="118" y="59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8"/>
                  </a:lnTo>
                  <a:lnTo>
                    <a:pt x="134" y="42"/>
                  </a:lnTo>
                  <a:lnTo>
                    <a:pt x="136" y="36"/>
                  </a:lnTo>
                  <a:lnTo>
                    <a:pt x="136" y="31"/>
                  </a:lnTo>
                  <a:lnTo>
                    <a:pt x="136" y="25"/>
                  </a:lnTo>
                  <a:lnTo>
                    <a:pt x="134" y="19"/>
                  </a:lnTo>
                  <a:lnTo>
                    <a:pt x="131" y="14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8" y="3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4537"/>
            <p:cNvSpPr/>
            <p:nvPr/>
          </p:nvSpPr>
          <p:spPr bwMode="auto">
            <a:xfrm>
              <a:off x="11110913" y="376238"/>
              <a:ext cx="42863" cy="19050"/>
            </a:xfrm>
            <a:custGeom>
              <a:avLst/>
              <a:gdLst>
                <a:gd name="T0" fmla="*/ 30 w 136"/>
                <a:gd name="T1" fmla="*/ 60 h 60"/>
                <a:gd name="T2" fmla="*/ 106 w 136"/>
                <a:gd name="T3" fmla="*/ 60 h 60"/>
                <a:gd name="T4" fmla="*/ 112 w 136"/>
                <a:gd name="T5" fmla="*/ 58 h 60"/>
                <a:gd name="T6" fmla="*/ 117 w 136"/>
                <a:gd name="T7" fmla="*/ 57 h 60"/>
                <a:gd name="T8" fmla="*/ 123 w 136"/>
                <a:gd name="T9" fmla="*/ 54 h 60"/>
                <a:gd name="T10" fmla="*/ 128 w 136"/>
                <a:gd name="T11" fmla="*/ 50 h 60"/>
                <a:gd name="T12" fmla="*/ 131 w 136"/>
                <a:gd name="T13" fmla="*/ 46 h 60"/>
                <a:gd name="T14" fmla="*/ 133 w 136"/>
                <a:gd name="T15" fmla="*/ 41 h 60"/>
                <a:gd name="T16" fmla="*/ 136 w 136"/>
                <a:gd name="T17" fmla="*/ 36 h 60"/>
                <a:gd name="T18" fmla="*/ 136 w 136"/>
                <a:gd name="T19" fmla="*/ 29 h 60"/>
                <a:gd name="T20" fmla="*/ 136 w 136"/>
                <a:gd name="T21" fmla="*/ 23 h 60"/>
                <a:gd name="T22" fmla="*/ 133 w 136"/>
                <a:gd name="T23" fmla="*/ 18 h 60"/>
                <a:gd name="T24" fmla="*/ 131 w 136"/>
                <a:gd name="T25" fmla="*/ 12 h 60"/>
                <a:gd name="T26" fmla="*/ 128 w 136"/>
                <a:gd name="T27" fmla="*/ 9 h 60"/>
                <a:gd name="T28" fmla="*/ 123 w 136"/>
                <a:gd name="T29" fmla="*/ 4 h 60"/>
                <a:gd name="T30" fmla="*/ 117 w 136"/>
                <a:gd name="T31" fmla="*/ 2 h 60"/>
                <a:gd name="T32" fmla="*/ 112 w 136"/>
                <a:gd name="T33" fmla="*/ 0 h 60"/>
                <a:gd name="T34" fmla="*/ 106 w 136"/>
                <a:gd name="T35" fmla="*/ 0 h 60"/>
                <a:gd name="T36" fmla="*/ 30 w 136"/>
                <a:gd name="T37" fmla="*/ 0 h 60"/>
                <a:gd name="T38" fmla="*/ 25 w 136"/>
                <a:gd name="T39" fmla="*/ 0 h 60"/>
                <a:gd name="T40" fmla="*/ 19 w 136"/>
                <a:gd name="T41" fmla="*/ 2 h 60"/>
                <a:gd name="T42" fmla="*/ 14 w 136"/>
                <a:gd name="T43" fmla="*/ 4 h 60"/>
                <a:gd name="T44" fmla="*/ 9 w 136"/>
                <a:gd name="T45" fmla="*/ 9 h 60"/>
                <a:gd name="T46" fmla="*/ 6 w 136"/>
                <a:gd name="T47" fmla="*/ 12 h 60"/>
                <a:gd name="T48" fmla="*/ 2 w 136"/>
                <a:gd name="T49" fmla="*/ 18 h 60"/>
                <a:gd name="T50" fmla="*/ 1 w 136"/>
                <a:gd name="T51" fmla="*/ 23 h 60"/>
                <a:gd name="T52" fmla="*/ 0 w 136"/>
                <a:gd name="T53" fmla="*/ 29 h 60"/>
                <a:gd name="T54" fmla="*/ 1 w 136"/>
                <a:gd name="T55" fmla="*/ 36 h 60"/>
                <a:gd name="T56" fmla="*/ 2 w 136"/>
                <a:gd name="T57" fmla="*/ 41 h 60"/>
                <a:gd name="T58" fmla="*/ 6 w 136"/>
                <a:gd name="T59" fmla="*/ 46 h 60"/>
                <a:gd name="T60" fmla="*/ 9 w 136"/>
                <a:gd name="T61" fmla="*/ 50 h 60"/>
                <a:gd name="T62" fmla="*/ 14 w 136"/>
                <a:gd name="T63" fmla="*/ 55 h 60"/>
                <a:gd name="T64" fmla="*/ 19 w 136"/>
                <a:gd name="T65" fmla="*/ 57 h 60"/>
                <a:gd name="T66" fmla="*/ 25 w 136"/>
                <a:gd name="T67" fmla="*/ 60 h 60"/>
                <a:gd name="T68" fmla="*/ 30 w 136"/>
                <a:gd name="T69" fmla="*/ 60 h 60"/>
                <a:gd name="T70" fmla="*/ 30 w 136"/>
                <a:gd name="T7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6" h="60">
                  <a:moveTo>
                    <a:pt x="30" y="60"/>
                  </a:moveTo>
                  <a:lnTo>
                    <a:pt x="106" y="60"/>
                  </a:lnTo>
                  <a:lnTo>
                    <a:pt x="112" y="58"/>
                  </a:lnTo>
                  <a:lnTo>
                    <a:pt x="117" y="57"/>
                  </a:lnTo>
                  <a:lnTo>
                    <a:pt x="123" y="54"/>
                  </a:lnTo>
                  <a:lnTo>
                    <a:pt x="128" y="50"/>
                  </a:lnTo>
                  <a:lnTo>
                    <a:pt x="131" y="46"/>
                  </a:lnTo>
                  <a:lnTo>
                    <a:pt x="133" y="41"/>
                  </a:lnTo>
                  <a:lnTo>
                    <a:pt x="136" y="36"/>
                  </a:lnTo>
                  <a:lnTo>
                    <a:pt x="136" y="29"/>
                  </a:lnTo>
                  <a:lnTo>
                    <a:pt x="136" y="23"/>
                  </a:lnTo>
                  <a:lnTo>
                    <a:pt x="133" y="18"/>
                  </a:lnTo>
                  <a:lnTo>
                    <a:pt x="131" y="12"/>
                  </a:lnTo>
                  <a:lnTo>
                    <a:pt x="128" y="9"/>
                  </a:lnTo>
                  <a:lnTo>
                    <a:pt x="123" y="4"/>
                  </a:lnTo>
                  <a:lnTo>
                    <a:pt x="117" y="2"/>
                  </a:lnTo>
                  <a:lnTo>
                    <a:pt x="112" y="0"/>
                  </a:lnTo>
                  <a:lnTo>
                    <a:pt x="106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9" y="9"/>
                  </a:lnTo>
                  <a:lnTo>
                    <a:pt x="6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6" y="46"/>
                  </a:lnTo>
                  <a:lnTo>
                    <a:pt x="9" y="50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0" y="60"/>
                  </a:lnTo>
                  <a:lnTo>
                    <a:pt x="3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4538"/>
            <p:cNvSpPr/>
            <p:nvPr/>
          </p:nvSpPr>
          <p:spPr bwMode="auto">
            <a:xfrm>
              <a:off x="11110913" y="423863"/>
              <a:ext cx="42863" cy="19050"/>
            </a:xfrm>
            <a:custGeom>
              <a:avLst/>
              <a:gdLst>
                <a:gd name="T0" fmla="*/ 30 w 136"/>
                <a:gd name="T1" fmla="*/ 60 h 60"/>
                <a:gd name="T2" fmla="*/ 106 w 136"/>
                <a:gd name="T3" fmla="*/ 60 h 60"/>
                <a:gd name="T4" fmla="*/ 112 w 136"/>
                <a:gd name="T5" fmla="*/ 60 h 60"/>
                <a:gd name="T6" fmla="*/ 117 w 136"/>
                <a:gd name="T7" fmla="*/ 57 h 60"/>
                <a:gd name="T8" fmla="*/ 123 w 136"/>
                <a:gd name="T9" fmla="*/ 55 h 60"/>
                <a:gd name="T10" fmla="*/ 128 w 136"/>
                <a:gd name="T11" fmla="*/ 52 h 60"/>
                <a:gd name="T12" fmla="*/ 131 w 136"/>
                <a:gd name="T13" fmla="*/ 47 h 60"/>
                <a:gd name="T14" fmla="*/ 133 w 136"/>
                <a:gd name="T15" fmla="*/ 42 h 60"/>
                <a:gd name="T16" fmla="*/ 136 w 136"/>
                <a:gd name="T17" fmla="*/ 36 h 60"/>
                <a:gd name="T18" fmla="*/ 136 w 136"/>
                <a:gd name="T19" fmla="*/ 30 h 60"/>
                <a:gd name="T20" fmla="*/ 136 w 136"/>
                <a:gd name="T21" fmla="*/ 24 h 60"/>
                <a:gd name="T22" fmla="*/ 133 w 136"/>
                <a:gd name="T23" fmla="*/ 18 h 60"/>
                <a:gd name="T24" fmla="*/ 131 w 136"/>
                <a:gd name="T25" fmla="*/ 13 h 60"/>
                <a:gd name="T26" fmla="*/ 128 w 136"/>
                <a:gd name="T27" fmla="*/ 9 h 60"/>
                <a:gd name="T28" fmla="*/ 123 w 136"/>
                <a:gd name="T29" fmla="*/ 6 h 60"/>
                <a:gd name="T30" fmla="*/ 117 w 136"/>
                <a:gd name="T31" fmla="*/ 2 h 60"/>
                <a:gd name="T32" fmla="*/ 112 w 136"/>
                <a:gd name="T33" fmla="*/ 1 h 60"/>
                <a:gd name="T34" fmla="*/ 106 w 136"/>
                <a:gd name="T35" fmla="*/ 0 h 60"/>
                <a:gd name="T36" fmla="*/ 30 w 136"/>
                <a:gd name="T37" fmla="*/ 0 h 60"/>
                <a:gd name="T38" fmla="*/ 25 w 136"/>
                <a:gd name="T39" fmla="*/ 1 h 60"/>
                <a:gd name="T40" fmla="*/ 19 w 136"/>
                <a:gd name="T41" fmla="*/ 2 h 60"/>
                <a:gd name="T42" fmla="*/ 14 w 136"/>
                <a:gd name="T43" fmla="*/ 6 h 60"/>
                <a:gd name="T44" fmla="*/ 9 w 136"/>
                <a:gd name="T45" fmla="*/ 9 h 60"/>
                <a:gd name="T46" fmla="*/ 6 w 136"/>
                <a:gd name="T47" fmla="*/ 13 h 60"/>
                <a:gd name="T48" fmla="*/ 2 w 136"/>
                <a:gd name="T49" fmla="*/ 18 h 60"/>
                <a:gd name="T50" fmla="*/ 1 w 136"/>
                <a:gd name="T51" fmla="*/ 24 h 60"/>
                <a:gd name="T52" fmla="*/ 0 w 136"/>
                <a:gd name="T53" fmla="*/ 30 h 60"/>
                <a:gd name="T54" fmla="*/ 1 w 136"/>
                <a:gd name="T55" fmla="*/ 36 h 60"/>
                <a:gd name="T56" fmla="*/ 2 w 136"/>
                <a:gd name="T57" fmla="*/ 42 h 60"/>
                <a:gd name="T58" fmla="*/ 6 w 136"/>
                <a:gd name="T59" fmla="*/ 47 h 60"/>
                <a:gd name="T60" fmla="*/ 9 w 136"/>
                <a:gd name="T61" fmla="*/ 52 h 60"/>
                <a:gd name="T62" fmla="*/ 14 w 136"/>
                <a:gd name="T63" fmla="*/ 55 h 60"/>
                <a:gd name="T64" fmla="*/ 19 w 136"/>
                <a:gd name="T65" fmla="*/ 57 h 60"/>
                <a:gd name="T66" fmla="*/ 25 w 136"/>
                <a:gd name="T67" fmla="*/ 60 h 60"/>
                <a:gd name="T68" fmla="*/ 30 w 136"/>
                <a:gd name="T6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6" h="60">
                  <a:moveTo>
                    <a:pt x="30" y="60"/>
                  </a:moveTo>
                  <a:lnTo>
                    <a:pt x="106" y="60"/>
                  </a:lnTo>
                  <a:lnTo>
                    <a:pt x="112" y="60"/>
                  </a:lnTo>
                  <a:lnTo>
                    <a:pt x="117" y="57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7"/>
                  </a:lnTo>
                  <a:lnTo>
                    <a:pt x="133" y="42"/>
                  </a:lnTo>
                  <a:lnTo>
                    <a:pt x="136" y="36"/>
                  </a:lnTo>
                  <a:lnTo>
                    <a:pt x="136" y="30"/>
                  </a:lnTo>
                  <a:lnTo>
                    <a:pt x="136" y="24"/>
                  </a:lnTo>
                  <a:lnTo>
                    <a:pt x="133" y="18"/>
                  </a:lnTo>
                  <a:lnTo>
                    <a:pt x="131" y="13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7" y="2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2" y="42"/>
                  </a:lnTo>
                  <a:lnTo>
                    <a:pt x="6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4539"/>
            <p:cNvSpPr/>
            <p:nvPr/>
          </p:nvSpPr>
          <p:spPr bwMode="auto">
            <a:xfrm>
              <a:off x="11110913" y="471488"/>
              <a:ext cx="42863" cy="19050"/>
            </a:xfrm>
            <a:custGeom>
              <a:avLst/>
              <a:gdLst>
                <a:gd name="T0" fmla="*/ 136 w 136"/>
                <a:gd name="T1" fmla="*/ 31 h 61"/>
                <a:gd name="T2" fmla="*/ 136 w 136"/>
                <a:gd name="T3" fmla="*/ 25 h 61"/>
                <a:gd name="T4" fmla="*/ 133 w 136"/>
                <a:gd name="T5" fmla="*/ 19 h 61"/>
                <a:gd name="T6" fmla="*/ 131 w 136"/>
                <a:gd name="T7" fmla="*/ 14 h 61"/>
                <a:gd name="T8" fmla="*/ 128 w 136"/>
                <a:gd name="T9" fmla="*/ 9 h 61"/>
                <a:gd name="T10" fmla="*/ 123 w 136"/>
                <a:gd name="T11" fmla="*/ 6 h 61"/>
                <a:gd name="T12" fmla="*/ 117 w 136"/>
                <a:gd name="T13" fmla="*/ 3 h 61"/>
                <a:gd name="T14" fmla="*/ 112 w 136"/>
                <a:gd name="T15" fmla="*/ 1 h 61"/>
                <a:gd name="T16" fmla="*/ 106 w 136"/>
                <a:gd name="T17" fmla="*/ 0 h 61"/>
                <a:gd name="T18" fmla="*/ 30 w 136"/>
                <a:gd name="T19" fmla="*/ 0 h 61"/>
                <a:gd name="T20" fmla="*/ 25 w 136"/>
                <a:gd name="T21" fmla="*/ 1 h 61"/>
                <a:gd name="T22" fmla="*/ 19 w 136"/>
                <a:gd name="T23" fmla="*/ 2 h 61"/>
                <a:gd name="T24" fmla="*/ 14 w 136"/>
                <a:gd name="T25" fmla="*/ 6 h 61"/>
                <a:gd name="T26" fmla="*/ 9 w 136"/>
                <a:gd name="T27" fmla="*/ 9 h 61"/>
                <a:gd name="T28" fmla="*/ 6 w 136"/>
                <a:gd name="T29" fmla="*/ 14 h 61"/>
                <a:gd name="T30" fmla="*/ 2 w 136"/>
                <a:gd name="T31" fmla="*/ 19 h 61"/>
                <a:gd name="T32" fmla="*/ 1 w 136"/>
                <a:gd name="T33" fmla="*/ 25 h 61"/>
                <a:gd name="T34" fmla="*/ 0 w 136"/>
                <a:gd name="T35" fmla="*/ 31 h 61"/>
                <a:gd name="T36" fmla="*/ 1 w 136"/>
                <a:gd name="T37" fmla="*/ 36 h 61"/>
                <a:gd name="T38" fmla="*/ 2 w 136"/>
                <a:gd name="T39" fmla="*/ 42 h 61"/>
                <a:gd name="T40" fmla="*/ 6 w 136"/>
                <a:gd name="T41" fmla="*/ 48 h 61"/>
                <a:gd name="T42" fmla="*/ 9 w 136"/>
                <a:gd name="T43" fmla="*/ 52 h 61"/>
                <a:gd name="T44" fmla="*/ 14 w 136"/>
                <a:gd name="T45" fmla="*/ 55 h 61"/>
                <a:gd name="T46" fmla="*/ 19 w 136"/>
                <a:gd name="T47" fmla="*/ 59 h 61"/>
                <a:gd name="T48" fmla="*/ 25 w 136"/>
                <a:gd name="T49" fmla="*/ 60 h 61"/>
                <a:gd name="T50" fmla="*/ 30 w 136"/>
                <a:gd name="T51" fmla="*/ 61 h 61"/>
                <a:gd name="T52" fmla="*/ 106 w 136"/>
                <a:gd name="T53" fmla="*/ 61 h 61"/>
                <a:gd name="T54" fmla="*/ 112 w 136"/>
                <a:gd name="T55" fmla="*/ 60 h 61"/>
                <a:gd name="T56" fmla="*/ 117 w 136"/>
                <a:gd name="T57" fmla="*/ 59 h 61"/>
                <a:gd name="T58" fmla="*/ 123 w 136"/>
                <a:gd name="T59" fmla="*/ 55 h 61"/>
                <a:gd name="T60" fmla="*/ 128 w 136"/>
                <a:gd name="T61" fmla="*/ 52 h 61"/>
                <a:gd name="T62" fmla="*/ 131 w 136"/>
                <a:gd name="T63" fmla="*/ 48 h 61"/>
                <a:gd name="T64" fmla="*/ 133 w 136"/>
                <a:gd name="T65" fmla="*/ 42 h 61"/>
                <a:gd name="T66" fmla="*/ 136 w 136"/>
                <a:gd name="T67" fmla="*/ 36 h 61"/>
                <a:gd name="T68" fmla="*/ 136 w 136"/>
                <a:gd name="T69" fmla="*/ 31 h 61"/>
                <a:gd name="T70" fmla="*/ 136 w 136"/>
                <a:gd name="T71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6" h="61">
                  <a:moveTo>
                    <a:pt x="136" y="31"/>
                  </a:moveTo>
                  <a:lnTo>
                    <a:pt x="136" y="25"/>
                  </a:lnTo>
                  <a:lnTo>
                    <a:pt x="133" y="19"/>
                  </a:lnTo>
                  <a:lnTo>
                    <a:pt x="131" y="14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7" y="3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4"/>
                  </a:lnTo>
                  <a:lnTo>
                    <a:pt x="2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1" y="36"/>
                  </a:lnTo>
                  <a:lnTo>
                    <a:pt x="2" y="42"/>
                  </a:lnTo>
                  <a:lnTo>
                    <a:pt x="6" y="48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9"/>
                  </a:lnTo>
                  <a:lnTo>
                    <a:pt x="25" y="60"/>
                  </a:lnTo>
                  <a:lnTo>
                    <a:pt x="30" y="61"/>
                  </a:lnTo>
                  <a:lnTo>
                    <a:pt x="106" y="61"/>
                  </a:lnTo>
                  <a:lnTo>
                    <a:pt x="112" y="60"/>
                  </a:lnTo>
                  <a:lnTo>
                    <a:pt x="117" y="59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8"/>
                  </a:lnTo>
                  <a:lnTo>
                    <a:pt x="133" y="42"/>
                  </a:lnTo>
                  <a:lnTo>
                    <a:pt x="136" y="36"/>
                  </a:lnTo>
                  <a:lnTo>
                    <a:pt x="136" y="31"/>
                  </a:lnTo>
                  <a:lnTo>
                    <a:pt x="13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540"/>
            <p:cNvSpPr/>
            <p:nvPr/>
          </p:nvSpPr>
          <p:spPr bwMode="auto">
            <a:xfrm>
              <a:off x="11172825" y="376238"/>
              <a:ext cx="42863" cy="19050"/>
            </a:xfrm>
            <a:custGeom>
              <a:avLst/>
              <a:gdLst>
                <a:gd name="T0" fmla="*/ 29 w 135"/>
                <a:gd name="T1" fmla="*/ 60 h 60"/>
                <a:gd name="T2" fmla="*/ 105 w 135"/>
                <a:gd name="T3" fmla="*/ 60 h 60"/>
                <a:gd name="T4" fmla="*/ 110 w 135"/>
                <a:gd name="T5" fmla="*/ 58 h 60"/>
                <a:gd name="T6" fmla="*/ 116 w 135"/>
                <a:gd name="T7" fmla="*/ 57 h 60"/>
                <a:gd name="T8" fmla="*/ 121 w 135"/>
                <a:gd name="T9" fmla="*/ 54 h 60"/>
                <a:gd name="T10" fmla="*/ 126 w 135"/>
                <a:gd name="T11" fmla="*/ 50 h 60"/>
                <a:gd name="T12" fmla="*/ 129 w 135"/>
                <a:gd name="T13" fmla="*/ 46 h 60"/>
                <a:gd name="T14" fmla="*/ 133 w 135"/>
                <a:gd name="T15" fmla="*/ 41 h 60"/>
                <a:gd name="T16" fmla="*/ 134 w 135"/>
                <a:gd name="T17" fmla="*/ 36 h 60"/>
                <a:gd name="T18" fmla="*/ 135 w 135"/>
                <a:gd name="T19" fmla="*/ 29 h 60"/>
                <a:gd name="T20" fmla="*/ 134 w 135"/>
                <a:gd name="T21" fmla="*/ 23 h 60"/>
                <a:gd name="T22" fmla="*/ 133 w 135"/>
                <a:gd name="T23" fmla="*/ 18 h 60"/>
                <a:gd name="T24" fmla="*/ 129 w 135"/>
                <a:gd name="T25" fmla="*/ 12 h 60"/>
                <a:gd name="T26" fmla="*/ 126 w 135"/>
                <a:gd name="T27" fmla="*/ 9 h 60"/>
                <a:gd name="T28" fmla="*/ 121 w 135"/>
                <a:gd name="T29" fmla="*/ 4 h 60"/>
                <a:gd name="T30" fmla="*/ 116 w 135"/>
                <a:gd name="T31" fmla="*/ 2 h 60"/>
                <a:gd name="T32" fmla="*/ 110 w 135"/>
                <a:gd name="T33" fmla="*/ 0 h 60"/>
                <a:gd name="T34" fmla="*/ 105 w 135"/>
                <a:gd name="T35" fmla="*/ 0 h 60"/>
                <a:gd name="T36" fmla="*/ 29 w 135"/>
                <a:gd name="T37" fmla="*/ 0 h 60"/>
                <a:gd name="T38" fmla="*/ 23 w 135"/>
                <a:gd name="T39" fmla="*/ 0 h 60"/>
                <a:gd name="T40" fmla="*/ 18 w 135"/>
                <a:gd name="T41" fmla="*/ 2 h 60"/>
                <a:gd name="T42" fmla="*/ 12 w 135"/>
                <a:gd name="T43" fmla="*/ 4 h 60"/>
                <a:gd name="T44" fmla="*/ 9 w 135"/>
                <a:gd name="T45" fmla="*/ 9 h 60"/>
                <a:gd name="T46" fmla="*/ 4 w 135"/>
                <a:gd name="T47" fmla="*/ 12 h 60"/>
                <a:gd name="T48" fmla="*/ 2 w 135"/>
                <a:gd name="T49" fmla="*/ 18 h 60"/>
                <a:gd name="T50" fmla="*/ 0 w 135"/>
                <a:gd name="T51" fmla="*/ 23 h 60"/>
                <a:gd name="T52" fmla="*/ 0 w 135"/>
                <a:gd name="T53" fmla="*/ 29 h 60"/>
                <a:gd name="T54" fmla="*/ 0 w 135"/>
                <a:gd name="T55" fmla="*/ 36 h 60"/>
                <a:gd name="T56" fmla="*/ 2 w 135"/>
                <a:gd name="T57" fmla="*/ 41 h 60"/>
                <a:gd name="T58" fmla="*/ 4 w 135"/>
                <a:gd name="T59" fmla="*/ 46 h 60"/>
                <a:gd name="T60" fmla="*/ 9 w 135"/>
                <a:gd name="T61" fmla="*/ 50 h 60"/>
                <a:gd name="T62" fmla="*/ 12 w 135"/>
                <a:gd name="T63" fmla="*/ 55 h 60"/>
                <a:gd name="T64" fmla="*/ 18 w 135"/>
                <a:gd name="T65" fmla="*/ 57 h 60"/>
                <a:gd name="T66" fmla="*/ 23 w 135"/>
                <a:gd name="T67" fmla="*/ 60 h 60"/>
                <a:gd name="T68" fmla="*/ 29 w 135"/>
                <a:gd name="T69" fmla="*/ 60 h 60"/>
                <a:gd name="T70" fmla="*/ 29 w 135"/>
                <a:gd name="T7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60">
                  <a:moveTo>
                    <a:pt x="29" y="60"/>
                  </a:moveTo>
                  <a:lnTo>
                    <a:pt x="105" y="60"/>
                  </a:lnTo>
                  <a:lnTo>
                    <a:pt x="110" y="58"/>
                  </a:lnTo>
                  <a:lnTo>
                    <a:pt x="116" y="57"/>
                  </a:lnTo>
                  <a:lnTo>
                    <a:pt x="121" y="54"/>
                  </a:lnTo>
                  <a:lnTo>
                    <a:pt x="126" y="50"/>
                  </a:lnTo>
                  <a:lnTo>
                    <a:pt x="129" y="46"/>
                  </a:lnTo>
                  <a:lnTo>
                    <a:pt x="133" y="41"/>
                  </a:lnTo>
                  <a:lnTo>
                    <a:pt x="134" y="36"/>
                  </a:lnTo>
                  <a:lnTo>
                    <a:pt x="135" y="29"/>
                  </a:lnTo>
                  <a:lnTo>
                    <a:pt x="134" y="23"/>
                  </a:lnTo>
                  <a:lnTo>
                    <a:pt x="133" y="18"/>
                  </a:lnTo>
                  <a:lnTo>
                    <a:pt x="129" y="12"/>
                  </a:lnTo>
                  <a:lnTo>
                    <a:pt x="126" y="9"/>
                  </a:lnTo>
                  <a:lnTo>
                    <a:pt x="121" y="4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05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9" y="9"/>
                  </a:lnTo>
                  <a:lnTo>
                    <a:pt x="4" y="12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4" y="46"/>
                  </a:lnTo>
                  <a:lnTo>
                    <a:pt x="9" y="50"/>
                  </a:lnTo>
                  <a:lnTo>
                    <a:pt x="12" y="55"/>
                  </a:lnTo>
                  <a:lnTo>
                    <a:pt x="18" y="57"/>
                  </a:lnTo>
                  <a:lnTo>
                    <a:pt x="23" y="60"/>
                  </a:lnTo>
                  <a:lnTo>
                    <a:pt x="29" y="60"/>
                  </a:lnTo>
                  <a:lnTo>
                    <a:pt x="29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95" name="Freeform 739"/>
          <p:cNvSpPr/>
          <p:nvPr/>
        </p:nvSpPr>
        <p:spPr bwMode="auto">
          <a:xfrm>
            <a:off x="5957094" y="3437731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96" name="Group 95"/>
          <p:cNvGrpSpPr/>
          <p:nvPr/>
        </p:nvGrpSpPr>
        <p:grpSpPr>
          <a:xfrm>
            <a:off x="8315881" y="3448844"/>
            <a:ext cx="266701" cy="265112"/>
            <a:chOff x="9305925" y="782638"/>
            <a:chExt cx="266701" cy="265112"/>
          </a:xfrm>
          <a:solidFill>
            <a:schemeClr val="bg1"/>
          </a:solidFill>
        </p:grpSpPr>
        <p:sp>
          <p:nvSpPr>
            <p:cNvPr id="97" name="Freeform 3760"/>
            <p:cNvSpPr>
              <a:spLocks noEditPoints="1"/>
            </p:cNvSpPr>
            <p:nvPr/>
          </p:nvSpPr>
          <p:spPr bwMode="auto">
            <a:xfrm>
              <a:off x="9305925" y="809625"/>
              <a:ext cx="223838" cy="238125"/>
            </a:xfrm>
            <a:custGeom>
              <a:avLst/>
              <a:gdLst>
                <a:gd name="T0" fmla="*/ 647 w 707"/>
                <a:gd name="T1" fmla="*/ 282 h 752"/>
                <a:gd name="T2" fmla="*/ 649 w 707"/>
                <a:gd name="T3" fmla="*/ 277 h 752"/>
                <a:gd name="T4" fmla="*/ 654 w 707"/>
                <a:gd name="T5" fmla="*/ 274 h 752"/>
                <a:gd name="T6" fmla="*/ 659 w 707"/>
                <a:gd name="T7" fmla="*/ 271 h 752"/>
                <a:gd name="T8" fmla="*/ 665 w 707"/>
                <a:gd name="T9" fmla="*/ 271 h 752"/>
                <a:gd name="T10" fmla="*/ 671 w 707"/>
                <a:gd name="T11" fmla="*/ 274 h 752"/>
                <a:gd name="T12" fmla="*/ 674 w 707"/>
                <a:gd name="T13" fmla="*/ 278 h 752"/>
                <a:gd name="T14" fmla="*/ 677 w 707"/>
                <a:gd name="T15" fmla="*/ 283 h 752"/>
                <a:gd name="T16" fmla="*/ 677 w 707"/>
                <a:gd name="T17" fmla="*/ 707 h 752"/>
                <a:gd name="T18" fmla="*/ 676 w 707"/>
                <a:gd name="T19" fmla="*/ 712 h 752"/>
                <a:gd name="T20" fmla="*/ 673 w 707"/>
                <a:gd name="T21" fmla="*/ 717 h 752"/>
                <a:gd name="T22" fmla="*/ 668 w 707"/>
                <a:gd name="T23" fmla="*/ 721 h 752"/>
                <a:gd name="T24" fmla="*/ 662 w 707"/>
                <a:gd name="T25" fmla="*/ 722 h 752"/>
                <a:gd name="T26" fmla="*/ 43 w 707"/>
                <a:gd name="T27" fmla="*/ 721 h 752"/>
                <a:gd name="T28" fmla="*/ 38 w 707"/>
                <a:gd name="T29" fmla="*/ 719 h 752"/>
                <a:gd name="T30" fmla="*/ 34 w 707"/>
                <a:gd name="T31" fmla="*/ 715 h 752"/>
                <a:gd name="T32" fmla="*/ 32 w 707"/>
                <a:gd name="T33" fmla="*/ 710 h 752"/>
                <a:gd name="T34" fmla="*/ 30 w 707"/>
                <a:gd name="T35" fmla="*/ 45 h 752"/>
                <a:gd name="T36" fmla="*/ 32 w 707"/>
                <a:gd name="T37" fmla="*/ 40 h 752"/>
                <a:gd name="T38" fmla="*/ 35 w 707"/>
                <a:gd name="T39" fmla="*/ 34 h 752"/>
                <a:gd name="T40" fmla="*/ 40 w 707"/>
                <a:gd name="T41" fmla="*/ 31 h 752"/>
                <a:gd name="T42" fmla="*/ 45 w 707"/>
                <a:gd name="T43" fmla="*/ 30 h 752"/>
                <a:gd name="T44" fmla="*/ 530 w 707"/>
                <a:gd name="T45" fmla="*/ 30 h 752"/>
                <a:gd name="T46" fmla="*/ 536 w 707"/>
                <a:gd name="T47" fmla="*/ 33 h 752"/>
                <a:gd name="T48" fmla="*/ 539 w 707"/>
                <a:gd name="T49" fmla="*/ 37 h 752"/>
                <a:gd name="T50" fmla="*/ 541 w 707"/>
                <a:gd name="T51" fmla="*/ 42 h 752"/>
                <a:gd name="T52" fmla="*/ 541 w 707"/>
                <a:gd name="T53" fmla="*/ 48 h 752"/>
                <a:gd name="T54" fmla="*/ 539 w 707"/>
                <a:gd name="T55" fmla="*/ 54 h 752"/>
                <a:gd name="T56" fmla="*/ 536 w 707"/>
                <a:gd name="T57" fmla="*/ 58 h 752"/>
                <a:gd name="T58" fmla="*/ 530 w 707"/>
                <a:gd name="T59" fmla="*/ 60 h 752"/>
                <a:gd name="T60" fmla="*/ 61 w 707"/>
                <a:gd name="T61" fmla="*/ 60 h 752"/>
                <a:gd name="T62" fmla="*/ 647 w 707"/>
                <a:gd name="T63" fmla="*/ 692 h 752"/>
                <a:gd name="T64" fmla="*/ 513 w 707"/>
                <a:gd name="T65" fmla="*/ 314 h 752"/>
                <a:gd name="T66" fmla="*/ 412 w 707"/>
                <a:gd name="T67" fmla="*/ 357 h 752"/>
                <a:gd name="T68" fmla="*/ 407 w 707"/>
                <a:gd name="T69" fmla="*/ 357 h 752"/>
                <a:gd name="T70" fmla="*/ 402 w 707"/>
                <a:gd name="T71" fmla="*/ 355 h 752"/>
                <a:gd name="T72" fmla="*/ 396 w 707"/>
                <a:gd name="T73" fmla="*/ 350 h 752"/>
                <a:gd name="T74" fmla="*/ 394 w 707"/>
                <a:gd name="T75" fmla="*/ 341 h 752"/>
                <a:gd name="T76" fmla="*/ 438 w 707"/>
                <a:gd name="T77" fmla="*/ 239 h 752"/>
                <a:gd name="T78" fmla="*/ 441 w 707"/>
                <a:gd name="T79" fmla="*/ 234 h 752"/>
                <a:gd name="T80" fmla="*/ 0 w 707"/>
                <a:gd name="T81" fmla="*/ 0 h 752"/>
                <a:gd name="T82" fmla="*/ 707 w 707"/>
                <a:gd name="T83" fmla="*/ 752 h 752"/>
                <a:gd name="T84" fmla="*/ 518 w 707"/>
                <a:gd name="T85" fmla="*/ 311 h 752"/>
                <a:gd name="T86" fmla="*/ 513 w 707"/>
                <a:gd name="T87" fmla="*/ 314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7" h="752">
                  <a:moveTo>
                    <a:pt x="647" y="285"/>
                  </a:moveTo>
                  <a:lnTo>
                    <a:pt x="647" y="282"/>
                  </a:lnTo>
                  <a:lnTo>
                    <a:pt x="648" y="280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54" y="274"/>
                  </a:lnTo>
                  <a:lnTo>
                    <a:pt x="656" y="271"/>
                  </a:lnTo>
                  <a:lnTo>
                    <a:pt x="659" y="271"/>
                  </a:lnTo>
                  <a:lnTo>
                    <a:pt x="662" y="270"/>
                  </a:lnTo>
                  <a:lnTo>
                    <a:pt x="665" y="271"/>
                  </a:lnTo>
                  <a:lnTo>
                    <a:pt x="668" y="271"/>
                  </a:lnTo>
                  <a:lnTo>
                    <a:pt x="671" y="274"/>
                  </a:lnTo>
                  <a:lnTo>
                    <a:pt x="673" y="275"/>
                  </a:lnTo>
                  <a:lnTo>
                    <a:pt x="674" y="278"/>
                  </a:lnTo>
                  <a:lnTo>
                    <a:pt x="676" y="280"/>
                  </a:lnTo>
                  <a:lnTo>
                    <a:pt x="677" y="283"/>
                  </a:lnTo>
                  <a:lnTo>
                    <a:pt x="677" y="285"/>
                  </a:lnTo>
                  <a:lnTo>
                    <a:pt x="677" y="707"/>
                  </a:lnTo>
                  <a:lnTo>
                    <a:pt x="677" y="709"/>
                  </a:lnTo>
                  <a:lnTo>
                    <a:pt x="676" y="712"/>
                  </a:lnTo>
                  <a:lnTo>
                    <a:pt x="674" y="714"/>
                  </a:lnTo>
                  <a:lnTo>
                    <a:pt x="673" y="717"/>
                  </a:lnTo>
                  <a:lnTo>
                    <a:pt x="671" y="719"/>
                  </a:lnTo>
                  <a:lnTo>
                    <a:pt x="668" y="721"/>
                  </a:lnTo>
                  <a:lnTo>
                    <a:pt x="665" y="721"/>
                  </a:lnTo>
                  <a:lnTo>
                    <a:pt x="662" y="722"/>
                  </a:lnTo>
                  <a:lnTo>
                    <a:pt x="45" y="722"/>
                  </a:lnTo>
                  <a:lnTo>
                    <a:pt x="43" y="721"/>
                  </a:lnTo>
                  <a:lnTo>
                    <a:pt x="40" y="721"/>
                  </a:lnTo>
                  <a:lnTo>
                    <a:pt x="38" y="719"/>
                  </a:lnTo>
                  <a:lnTo>
                    <a:pt x="35" y="717"/>
                  </a:lnTo>
                  <a:lnTo>
                    <a:pt x="34" y="715"/>
                  </a:lnTo>
                  <a:lnTo>
                    <a:pt x="32" y="712"/>
                  </a:lnTo>
                  <a:lnTo>
                    <a:pt x="32" y="710"/>
                  </a:lnTo>
                  <a:lnTo>
                    <a:pt x="30" y="707"/>
                  </a:lnTo>
                  <a:lnTo>
                    <a:pt x="30" y="45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4" y="37"/>
                  </a:lnTo>
                  <a:lnTo>
                    <a:pt x="35" y="34"/>
                  </a:lnTo>
                  <a:lnTo>
                    <a:pt x="38" y="33"/>
                  </a:lnTo>
                  <a:lnTo>
                    <a:pt x="40" y="31"/>
                  </a:lnTo>
                  <a:lnTo>
                    <a:pt x="43" y="30"/>
                  </a:lnTo>
                  <a:lnTo>
                    <a:pt x="45" y="30"/>
                  </a:lnTo>
                  <a:lnTo>
                    <a:pt x="527" y="30"/>
                  </a:lnTo>
                  <a:lnTo>
                    <a:pt x="530" y="30"/>
                  </a:lnTo>
                  <a:lnTo>
                    <a:pt x="532" y="31"/>
                  </a:lnTo>
                  <a:lnTo>
                    <a:pt x="536" y="33"/>
                  </a:lnTo>
                  <a:lnTo>
                    <a:pt x="538" y="34"/>
                  </a:lnTo>
                  <a:lnTo>
                    <a:pt x="539" y="37"/>
                  </a:lnTo>
                  <a:lnTo>
                    <a:pt x="541" y="40"/>
                  </a:lnTo>
                  <a:lnTo>
                    <a:pt x="541" y="42"/>
                  </a:lnTo>
                  <a:lnTo>
                    <a:pt x="542" y="45"/>
                  </a:lnTo>
                  <a:lnTo>
                    <a:pt x="541" y="48"/>
                  </a:lnTo>
                  <a:lnTo>
                    <a:pt x="541" y="52"/>
                  </a:lnTo>
                  <a:lnTo>
                    <a:pt x="539" y="54"/>
                  </a:lnTo>
                  <a:lnTo>
                    <a:pt x="538" y="56"/>
                  </a:lnTo>
                  <a:lnTo>
                    <a:pt x="536" y="58"/>
                  </a:lnTo>
                  <a:lnTo>
                    <a:pt x="532" y="59"/>
                  </a:lnTo>
                  <a:lnTo>
                    <a:pt x="530" y="60"/>
                  </a:lnTo>
                  <a:lnTo>
                    <a:pt x="527" y="60"/>
                  </a:lnTo>
                  <a:lnTo>
                    <a:pt x="61" y="60"/>
                  </a:lnTo>
                  <a:lnTo>
                    <a:pt x="61" y="692"/>
                  </a:lnTo>
                  <a:lnTo>
                    <a:pt x="647" y="692"/>
                  </a:lnTo>
                  <a:lnTo>
                    <a:pt x="647" y="285"/>
                  </a:lnTo>
                  <a:close/>
                  <a:moveTo>
                    <a:pt x="513" y="314"/>
                  </a:moveTo>
                  <a:lnTo>
                    <a:pt x="416" y="356"/>
                  </a:lnTo>
                  <a:lnTo>
                    <a:pt x="412" y="357"/>
                  </a:lnTo>
                  <a:lnTo>
                    <a:pt x="409" y="358"/>
                  </a:lnTo>
                  <a:lnTo>
                    <a:pt x="407" y="357"/>
                  </a:lnTo>
                  <a:lnTo>
                    <a:pt x="404" y="357"/>
                  </a:lnTo>
                  <a:lnTo>
                    <a:pt x="402" y="355"/>
                  </a:lnTo>
                  <a:lnTo>
                    <a:pt x="399" y="354"/>
                  </a:lnTo>
                  <a:lnTo>
                    <a:pt x="396" y="350"/>
                  </a:lnTo>
                  <a:lnTo>
                    <a:pt x="395" y="345"/>
                  </a:lnTo>
                  <a:lnTo>
                    <a:pt x="394" y="341"/>
                  </a:lnTo>
                  <a:lnTo>
                    <a:pt x="396" y="337"/>
                  </a:lnTo>
                  <a:lnTo>
                    <a:pt x="438" y="239"/>
                  </a:lnTo>
                  <a:lnTo>
                    <a:pt x="439" y="236"/>
                  </a:lnTo>
                  <a:lnTo>
                    <a:pt x="441" y="234"/>
                  </a:lnTo>
                  <a:lnTo>
                    <a:pt x="675" y="0"/>
                  </a:lnTo>
                  <a:lnTo>
                    <a:pt x="0" y="0"/>
                  </a:lnTo>
                  <a:lnTo>
                    <a:pt x="0" y="752"/>
                  </a:lnTo>
                  <a:lnTo>
                    <a:pt x="707" y="752"/>
                  </a:lnTo>
                  <a:lnTo>
                    <a:pt x="707" y="122"/>
                  </a:lnTo>
                  <a:lnTo>
                    <a:pt x="518" y="311"/>
                  </a:lnTo>
                  <a:lnTo>
                    <a:pt x="516" y="313"/>
                  </a:lnTo>
                  <a:lnTo>
                    <a:pt x="513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3761"/>
            <p:cNvSpPr/>
            <p:nvPr/>
          </p:nvSpPr>
          <p:spPr bwMode="auto">
            <a:xfrm>
              <a:off x="9445625" y="800100"/>
              <a:ext cx="107950" cy="109538"/>
            </a:xfrm>
            <a:custGeom>
              <a:avLst/>
              <a:gdLst>
                <a:gd name="T0" fmla="*/ 26 w 342"/>
                <a:gd name="T1" fmla="*/ 281 h 342"/>
                <a:gd name="T2" fmla="*/ 0 w 342"/>
                <a:gd name="T3" fmla="*/ 342 h 342"/>
                <a:gd name="T4" fmla="*/ 61 w 342"/>
                <a:gd name="T5" fmla="*/ 317 h 342"/>
                <a:gd name="T6" fmla="*/ 342 w 342"/>
                <a:gd name="T7" fmla="*/ 36 h 342"/>
                <a:gd name="T8" fmla="*/ 307 w 342"/>
                <a:gd name="T9" fmla="*/ 0 h 342"/>
                <a:gd name="T10" fmla="*/ 26 w 342"/>
                <a:gd name="T11" fmla="*/ 28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42">
                  <a:moveTo>
                    <a:pt x="26" y="281"/>
                  </a:moveTo>
                  <a:lnTo>
                    <a:pt x="0" y="342"/>
                  </a:lnTo>
                  <a:lnTo>
                    <a:pt x="61" y="317"/>
                  </a:lnTo>
                  <a:lnTo>
                    <a:pt x="342" y="36"/>
                  </a:lnTo>
                  <a:lnTo>
                    <a:pt x="307" y="0"/>
                  </a:lnTo>
                  <a:lnTo>
                    <a:pt x="26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3762"/>
            <p:cNvSpPr/>
            <p:nvPr/>
          </p:nvSpPr>
          <p:spPr bwMode="auto">
            <a:xfrm>
              <a:off x="9548813" y="782638"/>
              <a:ext cx="23813" cy="22225"/>
            </a:xfrm>
            <a:custGeom>
              <a:avLst/>
              <a:gdLst>
                <a:gd name="T0" fmla="*/ 70 w 72"/>
                <a:gd name="T1" fmla="*/ 20 h 72"/>
                <a:gd name="T2" fmla="*/ 68 w 72"/>
                <a:gd name="T3" fmla="*/ 15 h 72"/>
                <a:gd name="T4" fmla="*/ 66 w 72"/>
                <a:gd name="T5" fmla="*/ 12 h 72"/>
                <a:gd name="T6" fmla="*/ 62 w 72"/>
                <a:gd name="T7" fmla="*/ 9 h 72"/>
                <a:gd name="T8" fmla="*/ 59 w 72"/>
                <a:gd name="T9" fmla="*/ 6 h 72"/>
                <a:gd name="T10" fmla="*/ 56 w 72"/>
                <a:gd name="T11" fmla="*/ 4 h 72"/>
                <a:gd name="T12" fmla="*/ 52 w 72"/>
                <a:gd name="T13" fmla="*/ 1 h 72"/>
                <a:gd name="T14" fmla="*/ 48 w 72"/>
                <a:gd name="T15" fmla="*/ 0 h 72"/>
                <a:gd name="T16" fmla="*/ 44 w 72"/>
                <a:gd name="T17" fmla="*/ 0 h 72"/>
                <a:gd name="T18" fmla="*/ 41 w 72"/>
                <a:gd name="T19" fmla="*/ 0 h 72"/>
                <a:gd name="T20" fmla="*/ 38 w 72"/>
                <a:gd name="T21" fmla="*/ 1 h 72"/>
                <a:gd name="T22" fmla="*/ 35 w 72"/>
                <a:gd name="T23" fmla="*/ 4 h 72"/>
                <a:gd name="T24" fmla="*/ 31 w 72"/>
                <a:gd name="T25" fmla="*/ 6 h 72"/>
                <a:gd name="T26" fmla="*/ 0 w 72"/>
                <a:gd name="T27" fmla="*/ 37 h 72"/>
                <a:gd name="T28" fmla="*/ 36 w 72"/>
                <a:gd name="T29" fmla="*/ 72 h 72"/>
                <a:gd name="T30" fmla="*/ 67 w 72"/>
                <a:gd name="T31" fmla="*/ 41 h 72"/>
                <a:gd name="T32" fmla="*/ 70 w 72"/>
                <a:gd name="T33" fmla="*/ 36 h 72"/>
                <a:gd name="T34" fmla="*/ 72 w 72"/>
                <a:gd name="T35" fmla="*/ 31 h 72"/>
                <a:gd name="T36" fmla="*/ 72 w 72"/>
                <a:gd name="T37" fmla="*/ 25 h 72"/>
                <a:gd name="T38" fmla="*/ 70 w 72"/>
                <a:gd name="T39" fmla="*/ 2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72">
                  <a:moveTo>
                    <a:pt x="70" y="20"/>
                  </a:moveTo>
                  <a:lnTo>
                    <a:pt x="68" y="15"/>
                  </a:lnTo>
                  <a:lnTo>
                    <a:pt x="66" y="12"/>
                  </a:lnTo>
                  <a:lnTo>
                    <a:pt x="62" y="9"/>
                  </a:lnTo>
                  <a:lnTo>
                    <a:pt x="59" y="6"/>
                  </a:lnTo>
                  <a:lnTo>
                    <a:pt x="56" y="4"/>
                  </a:lnTo>
                  <a:lnTo>
                    <a:pt x="52" y="1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1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0" y="37"/>
                  </a:lnTo>
                  <a:lnTo>
                    <a:pt x="36" y="72"/>
                  </a:lnTo>
                  <a:lnTo>
                    <a:pt x="67" y="41"/>
                  </a:lnTo>
                  <a:lnTo>
                    <a:pt x="70" y="36"/>
                  </a:lnTo>
                  <a:lnTo>
                    <a:pt x="72" y="31"/>
                  </a:lnTo>
                  <a:lnTo>
                    <a:pt x="72" y="25"/>
                  </a:lnTo>
                  <a:lnTo>
                    <a:pt x="7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10678638" y="3438525"/>
            <a:ext cx="247651" cy="285750"/>
            <a:chOff x="10490200" y="1906588"/>
            <a:chExt cx="247651" cy="285750"/>
          </a:xfrm>
          <a:solidFill>
            <a:schemeClr val="bg1"/>
          </a:solidFill>
        </p:grpSpPr>
        <p:sp>
          <p:nvSpPr>
            <p:cNvPr id="101" name="Freeform 3008"/>
            <p:cNvSpPr/>
            <p:nvPr/>
          </p:nvSpPr>
          <p:spPr bwMode="auto">
            <a:xfrm>
              <a:off x="10490200" y="1906588"/>
              <a:ext cx="20638" cy="285750"/>
            </a:xfrm>
            <a:custGeom>
              <a:avLst/>
              <a:gdLst>
                <a:gd name="T0" fmla="*/ 25 w 48"/>
                <a:gd name="T1" fmla="*/ 0 h 718"/>
                <a:gd name="T2" fmla="*/ 20 w 48"/>
                <a:gd name="T3" fmla="*/ 0 h 718"/>
                <a:gd name="T4" fmla="*/ 15 w 48"/>
                <a:gd name="T5" fmla="*/ 1 h 718"/>
                <a:gd name="T6" fmla="*/ 10 w 48"/>
                <a:gd name="T7" fmla="*/ 3 h 718"/>
                <a:gd name="T8" fmla="*/ 7 w 48"/>
                <a:gd name="T9" fmla="*/ 7 h 718"/>
                <a:gd name="T10" fmla="*/ 4 w 48"/>
                <a:gd name="T11" fmla="*/ 11 h 718"/>
                <a:gd name="T12" fmla="*/ 2 w 48"/>
                <a:gd name="T13" fmla="*/ 14 h 718"/>
                <a:gd name="T14" fmla="*/ 1 w 48"/>
                <a:gd name="T15" fmla="*/ 19 h 718"/>
                <a:gd name="T16" fmla="*/ 0 w 48"/>
                <a:gd name="T17" fmla="*/ 24 h 718"/>
                <a:gd name="T18" fmla="*/ 0 w 48"/>
                <a:gd name="T19" fmla="*/ 694 h 718"/>
                <a:gd name="T20" fmla="*/ 1 w 48"/>
                <a:gd name="T21" fmla="*/ 699 h 718"/>
                <a:gd name="T22" fmla="*/ 2 w 48"/>
                <a:gd name="T23" fmla="*/ 704 h 718"/>
                <a:gd name="T24" fmla="*/ 4 w 48"/>
                <a:gd name="T25" fmla="*/ 708 h 718"/>
                <a:gd name="T26" fmla="*/ 7 w 48"/>
                <a:gd name="T27" fmla="*/ 711 h 718"/>
                <a:gd name="T28" fmla="*/ 10 w 48"/>
                <a:gd name="T29" fmla="*/ 714 h 718"/>
                <a:gd name="T30" fmla="*/ 15 w 48"/>
                <a:gd name="T31" fmla="*/ 716 h 718"/>
                <a:gd name="T32" fmla="*/ 20 w 48"/>
                <a:gd name="T33" fmla="*/ 718 h 718"/>
                <a:gd name="T34" fmla="*/ 25 w 48"/>
                <a:gd name="T35" fmla="*/ 718 h 718"/>
                <a:gd name="T36" fmla="*/ 29 w 48"/>
                <a:gd name="T37" fmla="*/ 718 h 718"/>
                <a:gd name="T38" fmla="*/ 33 w 48"/>
                <a:gd name="T39" fmla="*/ 716 h 718"/>
                <a:gd name="T40" fmla="*/ 38 w 48"/>
                <a:gd name="T41" fmla="*/ 714 h 718"/>
                <a:gd name="T42" fmla="*/ 41 w 48"/>
                <a:gd name="T43" fmla="*/ 711 h 718"/>
                <a:gd name="T44" fmla="*/ 44 w 48"/>
                <a:gd name="T45" fmla="*/ 708 h 718"/>
                <a:gd name="T46" fmla="*/ 46 w 48"/>
                <a:gd name="T47" fmla="*/ 704 h 718"/>
                <a:gd name="T48" fmla="*/ 47 w 48"/>
                <a:gd name="T49" fmla="*/ 699 h 718"/>
                <a:gd name="T50" fmla="*/ 48 w 48"/>
                <a:gd name="T51" fmla="*/ 694 h 718"/>
                <a:gd name="T52" fmla="*/ 48 w 48"/>
                <a:gd name="T53" fmla="*/ 24 h 718"/>
                <a:gd name="T54" fmla="*/ 47 w 48"/>
                <a:gd name="T55" fmla="*/ 19 h 718"/>
                <a:gd name="T56" fmla="*/ 46 w 48"/>
                <a:gd name="T57" fmla="*/ 14 h 718"/>
                <a:gd name="T58" fmla="*/ 44 w 48"/>
                <a:gd name="T59" fmla="*/ 11 h 718"/>
                <a:gd name="T60" fmla="*/ 41 w 48"/>
                <a:gd name="T61" fmla="*/ 7 h 718"/>
                <a:gd name="T62" fmla="*/ 38 w 48"/>
                <a:gd name="T63" fmla="*/ 3 h 718"/>
                <a:gd name="T64" fmla="*/ 33 w 48"/>
                <a:gd name="T65" fmla="*/ 1 h 718"/>
                <a:gd name="T66" fmla="*/ 29 w 48"/>
                <a:gd name="T67" fmla="*/ 0 h 718"/>
                <a:gd name="T68" fmla="*/ 25 w 48"/>
                <a:gd name="T69" fmla="*/ 0 h 718"/>
                <a:gd name="T70" fmla="*/ 25 w 48"/>
                <a:gd name="T71" fmla="*/ 0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" h="718">
                  <a:moveTo>
                    <a:pt x="25" y="0"/>
                  </a:moveTo>
                  <a:lnTo>
                    <a:pt x="20" y="0"/>
                  </a:lnTo>
                  <a:lnTo>
                    <a:pt x="15" y="1"/>
                  </a:lnTo>
                  <a:lnTo>
                    <a:pt x="10" y="3"/>
                  </a:lnTo>
                  <a:lnTo>
                    <a:pt x="7" y="7"/>
                  </a:lnTo>
                  <a:lnTo>
                    <a:pt x="4" y="11"/>
                  </a:lnTo>
                  <a:lnTo>
                    <a:pt x="2" y="14"/>
                  </a:lnTo>
                  <a:lnTo>
                    <a:pt x="1" y="19"/>
                  </a:lnTo>
                  <a:lnTo>
                    <a:pt x="0" y="24"/>
                  </a:lnTo>
                  <a:lnTo>
                    <a:pt x="0" y="694"/>
                  </a:lnTo>
                  <a:lnTo>
                    <a:pt x="1" y="699"/>
                  </a:lnTo>
                  <a:lnTo>
                    <a:pt x="2" y="704"/>
                  </a:lnTo>
                  <a:lnTo>
                    <a:pt x="4" y="708"/>
                  </a:lnTo>
                  <a:lnTo>
                    <a:pt x="7" y="711"/>
                  </a:lnTo>
                  <a:lnTo>
                    <a:pt x="10" y="714"/>
                  </a:lnTo>
                  <a:lnTo>
                    <a:pt x="15" y="716"/>
                  </a:lnTo>
                  <a:lnTo>
                    <a:pt x="20" y="718"/>
                  </a:lnTo>
                  <a:lnTo>
                    <a:pt x="25" y="718"/>
                  </a:lnTo>
                  <a:lnTo>
                    <a:pt x="29" y="718"/>
                  </a:lnTo>
                  <a:lnTo>
                    <a:pt x="33" y="716"/>
                  </a:lnTo>
                  <a:lnTo>
                    <a:pt x="38" y="714"/>
                  </a:lnTo>
                  <a:lnTo>
                    <a:pt x="41" y="711"/>
                  </a:lnTo>
                  <a:lnTo>
                    <a:pt x="44" y="708"/>
                  </a:lnTo>
                  <a:lnTo>
                    <a:pt x="46" y="704"/>
                  </a:lnTo>
                  <a:lnTo>
                    <a:pt x="47" y="699"/>
                  </a:lnTo>
                  <a:lnTo>
                    <a:pt x="48" y="694"/>
                  </a:lnTo>
                  <a:lnTo>
                    <a:pt x="48" y="24"/>
                  </a:lnTo>
                  <a:lnTo>
                    <a:pt x="47" y="19"/>
                  </a:lnTo>
                  <a:lnTo>
                    <a:pt x="46" y="14"/>
                  </a:lnTo>
                  <a:lnTo>
                    <a:pt x="44" y="11"/>
                  </a:lnTo>
                  <a:lnTo>
                    <a:pt x="41" y="7"/>
                  </a:lnTo>
                  <a:lnTo>
                    <a:pt x="38" y="3"/>
                  </a:lnTo>
                  <a:lnTo>
                    <a:pt x="33" y="1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3009"/>
            <p:cNvSpPr/>
            <p:nvPr/>
          </p:nvSpPr>
          <p:spPr bwMode="auto">
            <a:xfrm>
              <a:off x="10520363" y="1914525"/>
              <a:ext cx="217488" cy="187325"/>
            </a:xfrm>
            <a:custGeom>
              <a:avLst/>
              <a:gdLst>
                <a:gd name="T0" fmla="*/ 544 w 551"/>
                <a:gd name="T1" fmla="*/ 64 h 472"/>
                <a:gd name="T2" fmla="*/ 539 w 551"/>
                <a:gd name="T3" fmla="*/ 63 h 472"/>
                <a:gd name="T4" fmla="*/ 520 w 551"/>
                <a:gd name="T5" fmla="*/ 68 h 472"/>
                <a:gd name="T6" fmla="*/ 456 w 551"/>
                <a:gd name="T7" fmla="*/ 80 h 472"/>
                <a:gd name="T8" fmla="*/ 401 w 551"/>
                <a:gd name="T9" fmla="*/ 87 h 472"/>
                <a:gd name="T10" fmla="*/ 356 w 551"/>
                <a:gd name="T11" fmla="*/ 87 h 472"/>
                <a:gd name="T12" fmla="*/ 326 w 551"/>
                <a:gd name="T13" fmla="*/ 82 h 472"/>
                <a:gd name="T14" fmla="*/ 308 w 551"/>
                <a:gd name="T15" fmla="*/ 75 h 472"/>
                <a:gd name="T16" fmla="*/ 300 w 551"/>
                <a:gd name="T17" fmla="*/ 69 h 472"/>
                <a:gd name="T18" fmla="*/ 295 w 551"/>
                <a:gd name="T19" fmla="*/ 58 h 472"/>
                <a:gd name="T20" fmla="*/ 294 w 551"/>
                <a:gd name="T21" fmla="*/ 43 h 472"/>
                <a:gd name="T22" fmla="*/ 289 w 551"/>
                <a:gd name="T23" fmla="*/ 29 h 472"/>
                <a:gd name="T24" fmla="*/ 283 w 551"/>
                <a:gd name="T25" fmla="*/ 20 h 472"/>
                <a:gd name="T26" fmla="*/ 274 w 551"/>
                <a:gd name="T27" fmla="*/ 13 h 472"/>
                <a:gd name="T28" fmla="*/ 261 w 551"/>
                <a:gd name="T29" fmla="*/ 7 h 472"/>
                <a:gd name="T30" fmla="*/ 245 w 551"/>
                <a:gd name="T31" fmla="*/ 2 h 472"/>
                <a:gd name="T32" fmla="*/ 224 w 551"/>
                <a:gd name="T33" fmla="*/ 0 h 472"/>
                <a:gd name="T34" fmla="*/ 196 w 551"/>
                <a:gd name="T35" fmla="*/ 0 h 472"/>
                <a:gd name="T36" fmla="*/ 163 w 551"/>
                <a:gd name="T37" fmla="*/ 4 h 472"/>
                <a:gd name="T38" fmla="*/ 113 w 551"/>
                <a:gd name="T39" fmla="*/ 12 h 472"/>
                <a:gd name="T40" fmla="*/ 54 w 551"/>
                <a:gd name="T41" fmla="*/ 26 h 472"/>
                <a:gd name="T42" fmla="*/ 14 w 551"/>
                <a:gd name="T43" fmla="*/ 38 h 472"/>
                <a:gd name="T44" fmla="*/ 5 w 551"/>
                <a:gd name="T45" fmla="*/ 42 h 472"/>
                <a:gd name="T46" fmla="*/ 0 w 551"/>
                <a:gd name="T47" fmla="*/ 48 h 472"/>
                <a:gd name="T48" fmla="*/ 0 w 551"/>
                <a:gd name="T49" fmla="*/ 410 h 472"/>
                <a:gd name="T50" fmla="*/ 1 w 551"/>
                <a:gd name="T51" fmla="*/ 416 h 472"/>
                <a:gd name="T52" fmla="*/ 5 w 551"/>
                <a:gd name="T53" fmla="*/ 420 h 472"/>
                <a:gd name="T54" fmla="*/ 10 w 551"/>
                <a:gd name="T55" fmla="*/ 422 h 472"/>
                <a:gd name="T56" fmla="*/ 16 w 551"/>
                <a:gd name="T57" fmla="*/ 422 h 472"/>
                <a:gd name="T58" fmla="*/ 36 w 551"/>
                <a:gd name="T59" fmla="*/ 416 h 472"/>
                <a:gd name="T60" fmla="*/ 83 w 551"/>
                <a:gd name="T61" fmla="*/ 403 h 472"/>
                <a:gd name="T62" fmla="*/ 147 w 551"/>
                <a:gd name="T63" fmla="*/ 391 h 472"/>
                <a:gd name="T64" fmla="*/ 179 w 551"/>
                <a:gd name="T65" fmla="*/ 387 h 472"/>
                <a:gd name="T66" fmla="*/ 208 w 551"/>
                <a:gd name="T67" fmla="*/ 385 h 472"/>
                <a:gd name="T68" fmla="*/ 244 w 551"/>
                <a:gd name="T69" fmla="*/ 389 h 472"/>
                <a:gd name="T70" fmla="*/ 263 w 551"/>
                <a:gd name="T71" fmla="*/ 397 h 472"/>
                <a:gd name="T72" fmla="*/ 269 w 551"/>
                <a:gd name="T73" fmla="*/ 407 h 472"/>
                <a:gd name="T74" fmla="*/ 270 w 551"/>
                <a:gd name="T75" fmla="*/ 414 h 472"/>
                <a:gd name="T76" fmla="*/ 274 w 551"/>
                <a:gd name="T77" fmla="*/ 434 h 472"/>
                <a:gd name="T78" fmla="*/ 280 w 551"/>
                <a:gd name="T79" fmla="*/ 445 h 472"/>
                <a:gd name="T80" fmla="*/ 289 w 551"/>
                <a:gd name="T81" fmla="*/ 453 h 472"/>
                <a:gd name="T82" fmla="*/ 302 w 551"/>
                <a:gd name="T83" fmla="*/ 462 h 472"/>
                <a:gd name="T84" fmla="*/ 319 w 551"/>
                <a:gd name="T85" fmla="*/ 468 h 472"/>
                <a:gd name="T86" fmla="*/ 342 w 551"/>
                <a:gd name="T87" fmla="*/ 471 h 472"/>
                <a:gd name="T88" fmla="*/ 370 w 551"/>
                <a:gd name="T89" fmla="*/ 472 h 472"/>
                <a:gd name="T90" fmla="*/ 370 w 551"/>
                <a:gd name="T91" fmla="*/ 472 h 472"/>
                <a:gd name="T92" fmla="*/ 427 w 551"/>
                <a:gd name="T93" fmla="*/ 469 h 472"/>
                <a:gd name="T94" fmla="*/ 483 w 551"/>
                <a:gd name="T95" fmla="*/ 460 h 472"/>
                <a:gd name="T96" fmla="*/ 543 w 551"/>
                <a:gd name="T97" fmla="*/ 446 h 472"/>
                <a:gd name="T98" fmla="*/ 549 w 551"/>
                <a:gd name="T99" fmla="*/ 441 h 472"/>
                <a:gd name="T100" fmla="*/ 551 w 551"/>
                <a:gd name="T101" fmla="*/ 434 h 472"/>
                <a:gd name="T102" fmla="*/ 551 w 551"/>
                <a:gd name="T103" fmla="*/ 73 h 472"/>
                <a:gd name="T104" fmla="*/ 549 w 551"/>
                <a:gd name="T105" fmla="*/ 68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51" h="472">
                  <a:moveTo>
                    <a:pt x="546" y="65"/>
                  </a:moveTo>
                  <a:lnTo>
                    <a:pt x="544" y="64"/>
                  </a:lnTo>
                  <a:lnTo>
                    <a:pt x="541" y="63"/>
                  </a:lnTo>
                  <a:lnTo>
                    <a:pt x="539" y="63"/>
                  </a:lnTo>
                  <a:lnTo>
                    <a:pt x="535" y="64"/>
                  </a:lnTo>
                  <a:lnTo>
                    <a:pt x="520" y="68"/>
                  </a:lnTo>
                  <a:lnTo>
                    <a:pt x="481" y="76"/>
                  </a:lnTo>
                  <a:lnTo>
                    <a:pt x="456" y="80"/>
                  </a:lnTo>
                  <a:lnTo>
                    <a:pt x="428" y="83"/>
                  </a:lnTo>
                  <a:lnTo>
                    <a:pt x="401" y="87"/>
                  </a:lnTo>
                  <a:lnTo>
                    <a:pt x="374" y="87"/>
                  </a:lnTo>
                  <a:lnTo>
                    <a:pt x="356" y="87"/>
                  </a:lnTo>
                  <a:lnTo>
                    <a:pt x="339" y="86"/>
                  </a:lnTo>
                  <a:lnTo>
                    <a:pt x="326" y="82"/>
                  </a:lnTo>
                  <a:lnTo>
                    <a:pt x="314" y="79"/>
                  </a:lnTo>
                  <a:lnTo>
                    <a:pt x="308" y="75"/>
                  </a:lnTo>
                  <a:lnTo>
                    <a:pt x="304" y="73"/>
                  </a:lnTo>
                  <a:lnTo>
                    <a:pt x="300" y="69"/>
                  </a:lnTo>
                  <a:lnTo>
                    <a:pt x="298" y="65"/>
                  </a:lnTo>
                  <a:lnTo>
                    <a:pt x="295" y="58"/>
                  </a:lnTo>
                  <a:lnTo>
                    <a:pt x="294" y="52"/>
                  </a:lnTo>
                  <a:lnTo>
                    <a:pt x="294" y="43"/>
                  </a:lnTo>
                  <a:lnTo>
                    <a:pt x="290" y="33"/>
                  </a:lnTo>
                  <a:lnTo>
                    <a:pt x="289" y="29"/>
                  </a:lnTo>
                  <a:lnTo>
                    <a:pt x="286" y="25"/>
                  </a:lnTo>
                  <a:lnTo>
                    <a:pt x="283" y="20"/>
                  </a:lnTo>
                  <a:lnTo>
                    <a:pt x="279" y="17"/>
                  </a:lnTo>
                  <a:lnTo>
                    <a:pt x="274" y="13"/>
                  </a:lnTo>
                  <a:lnTo>
                    <a:pt x="268" y="10"/>
                  </a:lnTo>
                  <a:lnTo>
                    <a:pt x="261" y="7"/>
                  </a:lnTo>
                  <a:lnTo>
                    <a:pt x="254" y="5"/>
                  </a:lnTo>
                  <a:lnTo>
                    <a:pt x="245" y="2"/>
                  </a:lnTo>
                  <a:lnTo>
                    <a:pt x="235" y="1"/>
                  </a:lnTo>
                  <a:lnTo>
                    <a:pt x="224" y="0"/>
                  </a:lnTo>
                  <a:lnTo>
                    <a:pt x="212" y="0"/>
                  </a:lnTo>
                  <a:lnTo>
                    <a:pt x="196" y="0"/>
                  </a:lnTo>
                  <a:lnTo>
                    <a:pt x="180" y="1"/>
                  </a:lnTo>
                  <a:lnTo>
                    <a:pt x="163" y="4"/>
                  </a:lnTo>
                  <a:lnTo>
                    <a:pt x="147" y="6"/>
                  </a:lnTo>
                  <a:lnTo>
                    <a:pt x="113" y="12"/>
                  </a:lnTo>
                  <a:lnTo>
                    <a:pt x="81" y="19"/>
                  </a:lnTo>
                  <a:lnTo>
                    <a:pt x="54" y="26"/>
                  </a:lnTo>
                  <a:lnTo>
                    <a:pt x="31" y="33"/>
                  </a:lnTo>
                  <a:lnTo>
                    <a:pt x="14" y="38"/>
                  </a:lnTo>
                  <a:lnTo>
                    <a:pt x="9" y="40"/>
                  </a:lnTo>
                  <a:lnTo>
                    <a:pt x="5" y="42"/>
                  </a:lnTo>
                  <a:lnTo>
                    <a:pt x="3" y="44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410"/>
                  </a:lnTo>
                  <a:lnTo>
                    <a:pt x="0" y="414"/>
                  </a:lnTo>
                  <a:lnTo>
                    <a:pt x="1" y="416"/>
                  </a:lnTo>
                  <a:lnTo>
                    <a:pt x="3" y="419"/>
                  </a:lnTo>
                  <a:lnTo>
                    <a:pt x="5" y="420"/>
                  </a:lnTo>
                  <a:lnTo>
                    <a:pt x="7" y="422"/>
                  </a:lnTo>
                  <a:lnTo>
                    <a:pt x="10" y="422"/>
                  </a:lnTo>
                  <a:lnTo>
                    <a:pt x="13" y="422"/>
                  </a:lnTo>
                  <a:lnTo>
                    <a:pt x="16" y="422"/>
                  </a:lnTo>
                  <a:lnTo>
                    <a:pt x="22" y="420"/>
                  </a:lnTo>
                  <a:lnTo>
                    <a:pt x="36" y="416"/>
                  </a:lnTo>
                  <a:lnTo>
                    <a:pt x="57" y="410"/>
                  </a:lnTo>
                  <a:lnTo>
                    <a:pt x="83" y="403"/>
                  </a:lnTo>
                  <a:lnTo>
                    <a:pt x="114" y="397"/>
                  </a:lnTo>
                  <a:lnTo>
                    <a:pt x="147" y="391"/>
                  </a:lnTo>
                  <a:lnTo>
                    <a:pt x="162" y="389"/>
                  </a:lnTo>
                  <a:lnTo>
                    <a:pt x="179" y="387"/>
                  </a:lnTo>
                  <a:lnTo>
                    <a:pt x="194" y="385"/>
                  </a:lnTo>
                  <a:lnTo>
                    <a:pt x="208" y="385"/>
                  </a:lnTo>
                  <a:lnTo>
                    <a:pt x="229" y="387"/>
                  </a:lnTo>
                  <a:lnTo>
                    <a:pt x="244" y="389"/>
                  </a:lnTo>
                  <a:lnTo>
                    <a:pt x="255" y="393"/>
                  </a:lnTo>
                  <a:lnTo>
                    <a:pt x="263" y="397"/>
                  </a:lnTo>
                  <a:lnTo>
                    <a:pt x="267" y="402"/>
                  </a:lnTo>
                  <a:lnTo>
                    <a:pt x="269" y="407"/>
                  </a:lnTo>
                  <a:lnTo>
                    <a:pt x="270" y="412"/>
                  </a:lnTo>
                  <a:lnTo>
                    <a:pt x="270" y="414"/>
                  </a:lnTo>
                  <a:lnTo>
                    <a:pt x="271" y="425"/>
                  </a:lnTo>
                  <a:lnTo>
                    <a:pt x="274" y="434"/>
                  </a:lnTo>
                  <a:lnTo>
                    <a:pt x="277" y="440"/>
                  </a:lnTo>
                  <a:lnTo>
                    <a:pt x="280" y="445"/>
                  </a:lnTo>
                  <a:lnTo>
                    <a:pt x="284" y="450"/>
                  </a:lnTo>
                  <a:lnTo>
                    <a:pt x="289" y="453"/>
                  </a:lnTo>
                  <a:lnTo>
                    <a:pt x="295" y="458"/>
                  </a:lnTo>
                  <a:lnTo>
                    <a:pt x="302" y="462"/>
                  </a:lnTo>
                  <a:lnTo>
                    <a:pt x="311" y="464"/>
                  </a:lnTo>
                  <a:lnTo>
                    <a:pt x="319" y="468"/>
                  </a:lnTo>
                  <a:lnTo>
                    <a:pt x="330" y="470"/>
                  </a:lnTo>
                  <a:lnTo>
                    <a:pt x="342" y="471"/>
                  </a:lnTo>
                  <a:lnTo>
                    <a:pt x="355" y="472"/>
                  </a:lnTo>
                  <a:lnTo>
                    <a:pt x="370" y="472"/>
                  </a:lnTo>
                  <a:lnTo>
                    <a:pt x="370" y="472"/>
                  </a:lnTo>
                  <a:lnTo>
                    <a:pt x="370" y="472"/>
                  </a:lnTo>
                  <a:lnTo>
                    <a:pt x="399" y="471"/>
                  </a:lnTo>
                  <a:lnTo>
                    <a:pt x="427" y="469"/>
                  </a:lnTo>
                  <a:lnTo>
                    <a:pt x="456" y="465"/>
                  </a:lnTo>
                  <a:lnTo>
                    <a:pt x="483" y="460"/>
                  </a:lnTo>
                  <a:lnTo>
                    <a:pt x="524" y="451"/>
                  </a:lnTo>
                  <a:lnTo>
                    <a:pt x="543" y="446"/>
                  </a:lnTo>
                  <a:lnTo>
                    <a:pt x="546" y="445"/>
                  </a:lnTo>
                  <a:lnTo>
                    <a:pt x="549" y="441"/>
                  </a:lnTo>
                  <a:lnTo>
                    <a:pt x="550" y="439"/>
                  </a:lnTo>
                  <a:lnTo>
                    <a:pt x="551" y="434"/>
                  </a:lnTo>
                  <a:lnTo>
                    <a:pt x="551" y="75"/>
                  </a:lnTo>
                  <a:lnTo>
                    <a:pt x="551" y="73"/>
                  </a:lnTo>
                  <a:lnTo>
                    <a:pt x="550" y="70"/>
                  </a:lnTo>
                  <a:lnTo>
                    <a:pt x="549" y="68"/>
                  </a:lnTo>
                  <a:lnTo>
                    <a:pt x="546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ing Content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11" name="Rectangle: Rounded Corners 10"/>
          <p:cNvSpPr/>
          <p:nvPr/>
        </p:nvSpPr>
        <p:spPr>
          <a:xfrm>
            <a:off x="237149" y="1291771"/>
            <a:ext cx="2351315" cy="666615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+mj-lt"/>
              </a:rPr>
              <a:t>HEADLINE</a:t>
            </a:r>
            <a:endParaRPr lang="en-US" sz="2000" b="1" dirty="0">
              <a:latin typeface="+mj-lt"/>
            </a:endParaRPr>
          </a:p>
        </p:txBody>
      </p:sp>
      <p:sp>
        <p:nvSpPr>
          <p:cNvPr id="52" name="Rectangle: Rounded Corners 51"/>
          <p:cNvSpPr/>
          <p:nvPr/>
        </p:nvSpPr>
        <p:spPr>
          <a:xfrm>
            <a:off x="795949" y="2276012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XT LIN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tangle: Rounded Corners 52"/>
          <p:cNvSpPr/>
          <p:nvPr/>
        </p:nvSpPr>
        <p:spPr>
          <a:xfrm>
            <a:off x="1354749" y="3260253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XT LIN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Rectangle: Rounded Corners 53"/>
          <p:cNvSpPr/>
          <p:nvPr/>
        </p:nvSpPr>
        <p:spPr>
          <a:xfrm>
            <a:off x="1913549" y="4244494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XT LIN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Rectangle: Rounded Corners 54"/>
          <p:cNvSpPr/>
          <p:nvPr/>
        </p:nvSpPr>
        <p:spPr>
          <a:xfrm>
            <a:off x="2472350" y="5228734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ST SECTION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407819" y="5346598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407819" y="4329153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407819" y="3378117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407819" y="2393876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801257" y="1255746"/>
            <a:ext cx="9041106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i="1" dirty="0">
                <a:solidFill>
                  <a:schemeClr val="accent1"/>
                </a:solidFill>
              </a:rPr>
              <a:t>Lorem ipsum dolor sit </a:t>
            </a:r>
            <a:r>
              <a:rPr lang="en-US" sz="1600" i="1" dirty="0" err="1">
                <a:solidFill>
                  <a:schemeClr val="accent1"/>
                </a:solidFill>
              </a:rPr>
              <a:t>amet</a:t>
            </a:r>
            <a:r>
              <a:rPr lang="en-US" sz="1600" i="1" dirty="0">
                <a:solidFill>
                  <a:schemeClr val="accent1"/>
                </a:solidFill>
              </a:rPr>
              <a:t>, </a:t>
            </a:r>
            <a:r>
              <a:rPr lang="en-US" sz="1600" i="1" dirty="0" err="1">
                <a:solidFill>
                  <a:schemeClr val="accent1"/>
                </a:solidFill>
              </a:rPr>
              <a:t>consectetur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adipiscing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elit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r>
              <a:rPr lang="en-US" sz="1600" i="1" dirty="0" err="1">
                <a:solidFill>
                  <a:schemeClr val="accent1"/>
                </a:solidFill>
              </a:rPr>
              <a:t>Aenean</a:t>
            </a:r>
            <a:r>
              <a:rPr lang="en-US" sz="1600" i="1" dirty="0">
                <a:solidFill>
                  <a:schemeClr val="accent1"/>
                </a:solidFill>
              </a:rPr>
              <a:t> fermentum </a:t>
            </a:r>
            <a:r>
              <a:rPr lang="en-US" sz="1600" i="1" dirty="0" err="1">
                <a:solidFill>
                  <a:schemeClr val="accent1"/>
                </a:solidFill>
              </a:rPr>
              <a:t>fringilla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purus</a:t>
            </a:r>
            <a:r>
              <a:rPr lang="en-US" sz="1600" i="1" dirty="0">
                <a:solidFill>
                  <a:schemeClr val="accent1"/>
                </a:solidFill>
              </a:rPr>
              <a:t> id </a:t>
            </a:r>
            <a:r>
              <a:rPr lang="en-US" sz="1600" i="1" dirty="0" err="1">
                <a:solidFill>
                  <a:schemeClr val="accent1"/>
                </a:solidFill>
              </a:rPr>
              <a:t>aliquet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r>
              <a:rPr lang="en-US" sz="1600" i="1" dirty="0" err="1">
                <a:solidFill>
                  <a:schemeClr val="accent1"/>
                </a:solidFill>
              </a:rPr>
              <a:t>Donec</a:t>
            </a:r>
            <a:r>
              <a:rPr lang="en-US" sz="1600" i="1" dirty="0">
                <a:solidFill>
                  <a:schemeClr val="accent1"/>
                </a:solidFill>
              </a:rPr>
              <a:t> non </a:t>
            </a:r>
            <a:r>
              <a:rPr lang="en-US" sz="1600" i="1" dirty="0" err="1">
                <a:solidFill>
                  <a:schemeClr val="accent1"/>
                </a:solidFill>
              </a:rPr>
              <a:t>aliquet</a:t>
            </a:r>
            <a:r>
              <a:rPr lang="en-US" sz="1600" i="1" dirty="0">
                <a:solidFill>
                  <a:schemeClr val="accent1"/>
                </a:solidFill>
              </a:rPr>
              <a:t> dui, a convallis </a:t>
            </a:r>
            <a:r>
              <a:rPr lang="en-US" sz="1600" i="1" dirty="0" err="1">
                <a:solidFill>
                  <a:schemeClr val="accent1"/>
                </a:solidFill>
              </a:rPr>
              <a:t>risus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r>
              <a:rPr lang="en-US" sz="1600" i="1" dirty="0" err="1">
                <a:solidFill>
                  <a:schemeClr val="accent1"/>
                </a:solidFill>
              </a:rPr>
              <a:t>Donec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rutrum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erat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turpis</a:t>
            </a:r>
            <a:r>
              <a:rPr lang="en-US" sz="1600" i="1" dirty="0">
                <a:solidFill>
                  <a:schemeClr val="accent1"/>
                </a:solidFill>
              </a:rPr>
              <a:t>, in </a:t>
            </a:r>
            <a:r>
              <a:rPr lang="en-US" sz="1600" i="1" dirty="0" err="1">
                <a:solidFill>
                  <a:schemeClr val="accent1"/>
                </a:solidFill>
              </a:rPr>
              <a:t>dignissim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mauris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viverra</a:t>
            </a:r>
            <a:r>
              <a:rPr lang="en-US" sz="1600" i="1" dirty="0">
                <a:solidFill>
                  <a:schemeClr val="accent1"/>
                </a:solidFill>
              </a:rPr>
              <a:t> a. In </a:t>
            </a:r>
            <a:r>
              <a:rPr lang="en-US" sz="1600" i="1" dirty="0" err="1">
                <a:solidFill>
                  <a:schemeClr val="accent1"/>
                </a:solidFill>
              </a:rPr>
              <a:t>hendrerit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tempor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quam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eu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dignissim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p:cxnSp>
        <p:nvCxnSpPr>
          <p:cNvPr id="16" name="Straight Connector 15"/>
          <p:cNvCxnSpPr>
            <a:stCxn id="55" idx="3"/>
          </p:cNvCxnSpPr>
          <p:nvPr/>
        </p:nvCxnSpPr>
        <p:spPr>
          <a:xfrm>
            <a:off x="4823665" y="5562042"/>
            <a:ext cx="417873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54" idx="3"/>
          </p:cNvCxnSpPr>
          <p:nvPr/>
        </p:nvCxnSpPr>
        <p:spPr>
          <a:xfrm>
            <a:off x="4264864" y="4577802"/>
            <a:ext cx="976674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stCxn id="53" idx="3"/>
          </p:cNvCxnSpPr>
          <p:nvPr/>
        </p:nvCxnSpPr>
        <p:spPr>
          <a:xfrm>
            <a:off x="3706064" y="3593561"/>
            <a:ext cx="1535474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stCxn id="52" idx="3"/>
          </p:cNvCxnSpPr>
          <p:nvPr/>
        </p:nvCxnSpPr>
        <p:spPr>
          <a:xfrm>
            <a:off x="3147264" y="2609320"/>
            <a:ext cx="2094274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Research on Copywriting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810419" y="1186659"/>
            <a:ext cx="2493963" cy="730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3" name="Rectangle 22"/>
          <p:cNvSpPr/>
          <p:nvPr/>
        </p:nvSpPr>
        <p:spPr>
          <a:xfrm>
            <a:off x="3502819" y="1186659"/>
            <a:ext cx="2493963" cy="730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4" name="Rectangle 23"/>
          <p:cNvSpPr/>
          <p:nvPr/>
        </p:nvSpPr>
        <p:spPr>
          <a:xfrm>
            <a:off x="6195219" y="1186659"/>
            <a:ext cx="2493963" cy="730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5" name="Rectangle 24"/>
          <p:cNvSpPr/>
          <p:nvPr/>
        </p:nvSpPr>
        <p:spPr>
          <a:xfrm>
            <a:off x="8887619" y="1186659"/>
            <a:ext cx="2493963" cy="730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6" name="Rectangle 25"/>
          <p:cNvSpPr/>
          <p:nvPr/>
        </p:nvSpPr>
        <p:spPr>
          <a:xfrm>
            <a:off x="810419" y="1916683"/>
            <a:ext cx="2493963" cy="4463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3502819" y="1916683"/>
            <a:ext cx="2493963" cy="4463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195219" y="1916683"/>
            <a:ext cx="2493963" cy="4463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8887619" y="1916683"/>
            <a:ext cx="2493963" cy="4463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1756953" y="2062550"/>
            <a:ext cx="600894" cy="600894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4449353" y="2062550"/>
            <a:ext cx="600894" cy="600894"/>
          </a:xfrm>
          <a:prstGeom prst="ellipse">
            <a:avLst/>
          </a:prstGeom>
          <a:solidFill>
            <a:schemeClr val="tx2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7141753" y="2062550"/>
            <a:ext cx="600894" cy="600894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9834153" y="2062550"/>
            <a:ext cx="600894" cy="600894"/>
          </a:xfrm>
          <a:prstGeom prst="ellipse">
            <a:avLst/>
          </a:prstGeom>
          <a:solidFill>
            <a:schemeClr val="tx2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Straight Connector 33"/>
          <p:cNvCxnSpPr/>
          <p:nvPr/>
        </p:nvCxnSpPr>
        <p:spPr>
          <a:xfrm>
            <a:off x="1038112" y="3808965"/>
            <a:ext cx="1011577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038112" y="5009990"/>
            <a:ext cx="1011577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903854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</a:t>
            </a:r>
            <a:endParaRPr lang="en-US" sz="1600" dirty="0"/>
          </a:p>
        </p:txBody>
      </p:sp>
      <p:sp>
        <p:nvSpPr>
          <p:cNvPr id="37" name="TextBox 36"/>
          <p:cNvSpPr txBox="1"/>
          <p:nvPr/>
        </p:nvSpPr>
        <p:spPr>
          <a:xfrm>
            <a:off x="903854" y="406144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38" name="TextBox 37"/>
          <p:cNvSpPr txBox="1"/>
          <p:nvPr/>
        </p:nvSpPr>
        <p:spPr>
          <a:xfrm>
            <a:off x="903854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39" name="TextBox 38"/>
          <p:cNvSpPr txBox="1"/>
          <p:nvPr/>
        </p:nvSpPr>
        <p:spPr>
          <a:xfrm>
            <a:off x="3594259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0" name="TextBox 39"/>
          <p:cNvSpPr txBox="1"/>
          <p:nvPr/>
        </p:nvSpPr>
        <p:spPr>
          <a:xfrm>
            <a:off x="3594259" y="405966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1" name="TextBox 40"/>
          <p:cNvSpPr txBox="1"/>
          <p:nvPr/>
        </p:nvSpPr>
        <p:spPr>
          <a:xfrm>
            <a:off x="3594259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2" name="TextBox 41"/>
          <p:cNvSpPr txBox="1"/>
          <p:nvPr/>
        </p:nvSpPr>
        <p:spPr>
          <a:xfrm>
            <a:off x="6294189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3" name="TextBox 42"/>
          <p:cNvSpPr txBox="1"/>
          <p:nvPr/>
        </p:nvSpPr>
        <p:spPr>
          <a:xfrm>
            <a:off x="6294189" y="405966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4" name="TextBox 43"/>
          <p:cNvSpPr txBox="1"/>
          <p:nvPr/>
        </p:nvSpPr>
        <p:spPr>
          <a:xfrm>
            <a:off x="6294189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5" name="TextBox 44"/>
          <p:cNvSpPr txBox="1"/>
          <p:nvPr/>
        </p:nvSpPr>
        <p:spPr>
          <a:xfrm>
            <a:off x="8984797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6" name="TextBox 45"/>
          <p:cNvSpPr txBox="1"/>
          <p:nvPr/>
        </p:nvSpPr>
        <p:spPr>
          <a:xfrm>
            <a:off x="8984797" y="405966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7" name="TextBox 46"/>
          <p:cNvSpPr txBox="1"/>
          <p:nvPr/>
        </p:nvSpPr>
        <p:spPr>
          <a:xfrm>
            <a:off x="8984797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grpSp>
        <p:nvGrpSpPr>
          <p:cNvPr id="48" name="Group 47"/>
          <p:cNvGrpSpPr/>
          <p:nvPr/>
        </p:nvGrpSpPr>
        <p:grpSpPr>
          <a:xfrm>
            <a:off x="1964532" y="2220122"/>
            <a:ext cx="185737" cy="285750"/>
            <a:chOff x="7666038" y="5922963"/>
            <a:chExt cx="185737" cy="285750"/>
          </a:xfrm>
          <a:solidFill>
            <a:schemeClr val="bg1"/>
          </a:solidFill>
        </p:grpSpPr>
        <p:sp>
          <p:nvSpPr>
            <p:cNvPr id="49" name="Freeform 3584"/>
            <p:cNvSpPr/>
            <p:nvPr/>
          </p:nvSpPr>
          <p:spPr bwMode="auto">
            <a:xfrm>
              <a:off x="7689850" y="5922963"/>
              <a:ext cx="95250" cy="95250"/>
            </a:xfrm>
            <a:custGeom>
              <a:avLst/>
              <a:gdLst>
                <a:gd name="T0" fmla="*/ 133 w 240"/>
                <a:gd name="T1" fmla="*/ 239 h 240"/>
                <a:gd name="T2" fmla="*/ 156 w 240"/>
                <a:gd name="T3" fmla="*/ 235 h 240"/>
                <a:gd name="T4" fmla="*/ 177 w 240"/>
                <a:gd name="T5" fmla="*/ 226 h 240"/>
                <a:gd name="T6" fmla="*/ 197 w 240"/>
                <a:gd name="T7" fmla="*/ 212 h 240"/>
                <a:gd name="T8" fmla="*/ 213 w 240"/>
                <a:gd name="T9" fmla="*/ 196 h 240"/>
                <a:gd name="T10" fmla="*/ 226 w 240"/>
                <a:gd name="T11" fmla="*/ 177 h 240"/>
                <a:gd name="T12" fmla="*/ 235 w 240"/>
                <a:gd name="T13" fmla="*/ 155 h 240"/>
                <a:gd name="T14" fmla="*/ 240 w 240"/>
                <a:gd name="T15" fmla="*/ 132 h 240"/>
                <a:gd name="T16" fmla="*/ 240 w 240"/>
                <a:gd name="T17" fmla="*/ 108 h 240"/>
                <a:gd name="T18" fmla="*/ 235 w 240"/>
                <a:gd name="T19" fmla="*/ 83 h 240"/>
                <a:gd name="T20" fmla="*/ 226 w 240"/>
                <a:gd name="T21" fmla="*/ 63 h 240"/>
                <a:gd name="T22" fmla="*/ 213 w 240"/>
                <a:gd name="T23" fmla="*/ 43 h 240"/>
                <a:gd name="T24" fmla="*/ 197 w 240"/>
                <a:gd name="T25" fmla="*/ 27 h 240"/>
                <a:gd name="T26" fmla="*/ 177 w 240"/>
                <a:gd name="T27" fmla="*/ 14 h 240"/>
                <a:gd name="T28" fmla="*/ 156 w 240"/>
                <a:gd name="T29" fmla="*/ 5 h 240"/>
                <a:gd name="T30" fmla="*/ 133 w 240"/>
                <a:gd name="T31" fmla="*/ 0 h 240"/>
                <a:gd name="T32" fmla="*/ 108 w 240"/>
                <a:gd name="T33" fmla="*/ 0 h 240"/>
                <a:gd name="T34" fmla="*/ 85 w 240"/>
                <a:gd name="T35" fmla="*/ 5 h 240"/>
                <a:gd name="T36" fmla="*/ 63 w 240"/>
                <a:gd name="T37" fmla="*/ 14 h 240"/>
                <a:gd name="T38" fmla="*/ 44 w 240"/>
                <a:gd name="T39" fmla="*/ 27 h 240"/>
                <a:gd name="T40" fmla="*/ 27 w 240"/>
                <a:gd name="T41" fmla="*/ 43 h 240"/>
                <a:gd name="T42" fmla="*/ 14 w 240"/>
                <a:gd name="T43" fmla="*/ 63 h 240"/>
                <a:gd name="T44" fmla="*/ 5 w 240"/>
                <a:gd name="T45" fmla="*/ 83 h 240"/>
                <a:gd name="T46" fmla="*/ 0 w 240"/>
                <a:gd name="T47" fmla="*/ 108 h 240"/>
                <a:gd name="T48" fmla="*/ 0 w 240"/>
                <a:gd name="T49" fmla="*/ 132 h 240"/>
                <a:gd name="T50" fmla="*/ 5 w 240"/>
                <a:gd name="T51" fmla="*/ 155 h 240"/>
                <a:gd name="T52" fmla="*/ 14 w 240"/>
                <a:gd name="T53" fmla="*/ 177 h 240"/>
                <a:gd name="T54" fmla="*/ 27 w 240"/>
                <a:gd name="T55" fmla="*/ 196 h 240"/>
                <a:gd name="T56" fmla="*/ 44 w 240"/>
                <a:gd name="T57" fmla="*/ 212 h 240"/>
                <a:gd name="T58" fmla="*/ 63 w 240"/>
                <a:gd name="T59" fmla="*/ 226 h 240"/>
                <a:gd name="T60" fmla="*/ 85 w 240"/>
                <a:gd name="T61" fmla="*/ 235 h 240"/>
                <a:gd name="T62" fmla="*/ 108 w 240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240">
                  <a:moveTo>
                    <a:pt x="121" y="240"/>
                  </a:moveTo>
                  <a:lnTo>
                    <a:pt x="133" y="239"/>
                  </a:lnTo>
                  <a:lnTo>
                    <a:pt x="144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7" y="212"/>
                  </a:lnTo>
                  <a:lnTo>
                    <a:pt x="206" y="204"/>
                  </a:lnTo>
                  <a:lnTo>
                    <a:pt x="213" y="196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19"/>
                  </a:lnTo>
                  <a:lnTo>
                    <a:pt x="240" y="108"/>
                  </a:lnTo>
                  <a:lnTo>
                    <a:pt x="238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2"/>
                  </a:lnTo>
                  <a:lnTo>
                    <a:pt x="213" y="43"/>
                  </a:lnTo>
                  <a:lnTo>
                    <a:pt x="206" y="34"/>
                  </a:lnTo>
                  <a:lnTo>
                    <a:pt x="197" y="27"/>
                  </a:lnTo>
                  <a:lnTo>
                    <a:pt x="188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4" y="2"/>
                  </a:lnTo>
                  <a:lnTo>
                    <a:pt x="133" y="0"/>
                  </a:lnTo>
                  <a:lnTo>
                    <a:pt x="121" y="0"/>
                  </a:lnTo>
                  <a:lnTo>
                    <a:pt x="108" y="0"/>
                  </a:lnTo>
                  <a:lnTo>
                    <a:pt x="97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3" y="14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4"/>
                  </a:lnTo>
                  <a:lnTo>
                    <a:pt x="27" y="43"/>
                  </a:lnTo>
                  <a:lnTo>
                    <a:pt x="21" y="52"/>
                  </a:lnTo>
                  <a:lnTo>
                    <a:pt x="14" y="63"/>
                  </a:lnTo>
                  <a:lnTo>
                    <a:pt x="9" y="73"/>
                  </a:lnTo>
                  <a:lnTo>
                    <a:pt x="5" y="83"/>
                  </a:lnTo>
                  <a:lnTo>
                    <a:pt x="3" y="95"/>
                  </a:lnTo>
                  <a:lnTo>
                    <a:pt x="0" y="108"/>
                  </a:lnTo>
                  <a:lnTo>
                    <a:pt x="0" y="119"/>
                  </a:lnTo>
                  <a:lnTo>
                    <a:pt x="0" y="132"/>
                  </a:lnTo>
                  <a:lnTo>
                    <a:pt x="3" y="144"/>
                  </a:lnTo>
                  <a:lnTo>
                    <a:pt x="5" y="155"/>
                  </a:lnTo>
                  <a:lnTo>
                    <a:pt x="9" y="167"/>
                  </a:lnTo>
                  <a:lnTo>
                    <a:pt x="14" y="177"/>
                  </a:lnTo>
                  <a:lnTo>
                    <a:pt x="21" y="187"/>
                  </a:lnTo>
                  <a:lnTo>
                    <a:pt x="27" y="196"/>
                  </a:lnTo>
                  <a:lnTo>
                    <a:pt x="35" y="204"/>
                  </a:lnTo>
                  <a:lnTo>
                    <a:pt x="44" y="212"/>
                  </a:lnTo>
                  <a:lnTo>
                    <a:pt x="53" y="219"/>
                  </a:lnTo>
                  <a:lnTo>
                    <a:pt x="63" y="226"/>
                  </a:lnTo>
                  <a:lnTo>
                    <a:pt x="73" y="230"/>
                  </a:lnTo>
                  <a:lnTo>
                    <a:pt x="85" y="235"/>
                  </a:lnTo>
                  <a:lnTo>
                    <a:pt x="97" y="237"/>
                  </a:lnTo>
                  <a:lnTo>
                    <a:pt x="108" y="239"/>
                  </a:lnTo>
                  <a:lnTo>
                    <a:pt x="121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0" name="Freeform 3585"/>
            <p:cNvSpPr/>
            <p:nvPr/>
          </p:nvSpPr>
          <p:spPr bwMode="auto">
            <a:xfrm>
              <a:off x="7666038" y="6027738"/>
              <a:ext cx="142875" cy="180975"/>
            </a:xfrm>
            <a:custGeom>
              <a:avLst/>
              <a:gdLst>
                <a:gd name="T0" fmla="*/ 361 w 361"/>
                <a:gd name="T1" fmla="*/ 0 h 456"/>
                <a:gd name="T2" fmla="*/ 200 w 361"/>
                <a:gd name="T3" fmla="*/ 0 h 456"/>
                <a:gd name="T4" fmla="*/ 216 w 361"/>
                <a:gd name="T5" fmla="*/ 202 h 456"/>
                <a:gd name="T6" fmla="*/ 214 w 361"/>
                <a:gd name="T7" fmla="*/ 204 h 456"/>
                <a:gd name="T8" fmla="*/ 213 w 361"/>
                <a:gd name="T9" fmla="*/ 206 h 456"/>
                <a:gd name="T10" fmla="*/ 184 w 361"/>
                <a:gd name="T11" fmla="*/ 237 h 456"/>
                <a:gd name="T12" fmla="*/ 181 w 361"/>
                <a:gd name="T13" fmla="*/ 238 h 456"/>
                <a:gd name="T14" fmla="*/ 178 w 361"/>
                <a:gd name="T15" fmla="*/ 238 h 456"/>
                <a:gd name="T16" fmla="*/ 177 w 361"/>
                <a:gd name="T17" fmla="*/ 238 h 456"/>
                <a:gd name="T18" fmla="*/ 175 w 361"/>
                <a:gd name="T19" fmla="*/ 237 h 456"/>
                <a:gd name="T20" fmla="*/ 144 w 361"/>
                <a:gd name="T21" fmla="*/ 206 h 456"/>
                <a:gd name="T22" fmla="*/ 142 w 361"/>
                <a:gd name="T23" fmla="*/ 204 h 456"/>
                <a:gd name="T24" fmla="*/ 142 w 361"/>
                <a:gd name="T25" fmla="*/ 202 h 456"/>
                <a:gd name="T26" fmla="*/ 158 w 361"/>
                <a:gd name="T27" fmla="*/ 0 h 456"/>
                <a:gd name="T28" fmla="*/ 0 w 361"/>
                <a:gd name="T29" fmla="*/ 0 h 456"/>
                <a:gd name="T30" fmla="*/ 0 w 361"/>
                <a:gd name="T31" fmla="*/ 12 h 456"/>
                <a:gd name="T32" fmla="*/ 1 w 361"/>
                <a:gd name="T33" fmla="*/ 36 h 456"/>
                <a:gd name="T34" fmla="*/ 2 w 361"/>
                <a:gd name="T35" fmla="*/ 59 h 456"/>
                <a:gd name="T36" fmla="*/ 6 w 361"/>
                <a:gd name="T37" fmla="*/ 81 h 456"/>
                <a:gd name="T38" fmla="*/ 10 w 361"/>
                <a:gd name="T39" fmla="*/ 102 h 456"/>
                <a:gd name="T40" fmla="*/ 15 w 361"/>
                <a:gd name="T41" fmla="*/ 121 h 456"/>
                <a:gd name="T42" fmla="*/ 20 w 361"/>
                <a:gd name="T43" fmla="*/ 139 h 456"/>
                <a:gd name="T44" fmla="*/ 28 w 361"/>
                <a:gd name="T45" fmla="*/ 157 h 456"/>
                <a:gd name="T46" fmla="*/ 35 w 361"/>
                <a:gd name="T47" fmla="*/ 172 h 456"/>
                <a:gd name="T48" fmla="*/ 44 w 361"/>
                <a:gd name="T49" fmla="*/ 188 h 456"/>
                <a:gd name="T50" fmla="*/ 51 w 361"/>
                <a:gd name="T51" fmla="*/ 201 h 456"/>
                <a:gd name="T52" fmla="*/ 60 w 361"/>
                <a:gd name="T53" fmla="*/ 213 h 456"/>
                <a:gd name="T54" fmla="*/ 69 w 361"/>
                <a:gd name="T55" fmla="*/ 225 h 456"/>
                <a:gd name="T56" fmla="*/ 80 w 361"/>
                <a:gd name="T57" fmla="*/ 235 h 456"/>
                <a:gd name="T58" fmla="*/ 89 w 361"/>
                <a:gd name="T59" fmla="*/ 244 h 456"/>
                <a:gd name="T60" fmla="*/ 99 w 361"/>
                <a:gd name="T61" fmla="*/ 252 h 456"/>
                <a:gd name="T62" fmla="*/ 108 w 361"/>
                <a:gd name="T63" fmla="*/ 258 h 456"/>
                <a:gd name="T64" fmla="*/ 108 w 361"/>
                <a:gd name="T65" fmla="*/ 456 h 456"/>
                <a:gd name="T66" fmla="*/ 253 w 361"/>
                <a:gd name="T67" fmla="*/ 456 h 456"/>
                <a:gd name="T68" fmla="*/ 253 w 361"/>
                <a:gd name="T69" fmla="*/ 258 h 456"/>
                <a:gd name="T70" fmla="*/ 262 w 361"/>
                <a:gd name="T71" fmla="*/ 252 h 456"/>
                <a:gd name="T72" fmla="*/ 272 w 361"/>
                <a:gd name="T73" fmla="*/ 244 h 456"/>
                <a:gd name="T74" fmla="*/ 281 w 361"/>
                <a:gd name="T75" fmla="*/ 235 h 456"/>
                <a:gd name="T76" fmla="*/ 291 w 361"/>
                <a:gd name="T77" fmla="*/ 225 h 456"/>
                <a:gd name="T78" fmla="*/ 300 w 361"/>
                <a:gd name="T79" fmla="*/ 213 h 456"/>
                <a:gd name="T80" fmla="*/ 309 w 361"/>
                <a:gd name="T81" fmla="*/ 201 h 456"/>
                <a:gd name="T82" fmla="*/ 318 w 361"/>
                <a:gd name="T83" fmla="*/ 188 h 456"/>
                <a:gd name="T84" fmla="*/ 326 w 361"/>
                <a:gd name="T85" fmla="*/ 172 h 456"/>
                <a:gd name="T86" fmla="*/ 334 w 361"/>
                <a:gd name="T87" fmla="*/ 157 h 456"/>
                <a:gd name="T88" fmla="*/ 340 w 361"/>
                <a:gd name="T89" fmla="*/ 139 h 456"/>
                <a:gd name="T90" fmla="*/ 345 w 361"/>
                <a:gd name="T91" fmla="*/ 121 h 456"/>
                <a:gd name="T92" fmla="*/ 351 w 361"/>
                <a:gd name="T93" fmla="*/ 102 h 456"/>
                <a:gd name="T94" fmla="*/ 356 w 361"/>
                <a:gd name="T95" fmla="*/ 81 h 456"/>
                <a:gd name="T96" fmla="*/ 358 w 361"/>
                <a:gd name="T97" fmla="*/ 59 h 456"/>
                <a:gd name="T98" fmla="*/ 359 w 361"/>
                <a:gd name="T99" fmla="*/ 36 h 456"/>
                <a:gd name="T100" fmla="*/ 361 w 361"/>
                <a:gd name="T101" fmla="*/ 12 h 456"/>
                <a:gd name="T102" fmla="*/ 361 w 361"/>
                <a:gd name="T103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1" h="456">
                  <a:moveTo>
                    <a:pt x="361" y="0"/>
                  </a:moveTo>
                  <a:lnTo>
                    <a:pt x="200" y="0"/>
                  </a:lnTo>
                  <a:lnTo>
                    <a:pt x="216" y="202"/>
                  </a:lnTo>
                  <a:lnTo>
                    <a:pt x="214" y="204"/>
                  </a:lnTo>
                  <a:lnTo>
                    <a:pt x="213" y="206"/>
                  </a:lnTo>
                  <a:lnTo>
                    <a:pt x="184" y="237"/>
                  </a:lnTo>
                  <a:lnTo>
                    <a:pt x="181" y="238"/>
                  </a:lnTo>
                  <a:lnTo>
                    <a:pt x="178" y="238"/>
                  </a:lnTo>
                  <a:lnTo>
                    <a:pt x="177" y="238"/>
                  </a:lnTo>
                  <a:lnTo>
                    <a:pt x="175" y="237"/>
                  </a:lnTo>
                  <a:lnTo>
                    <a:pt x="144" y="206"/>
                  </a:lnTo>
                  <a:lnTo>
                    <a:pt x="142" y="204"/>
                  </a:lnTo>
                  <a:lnTo>
                    <a:pt x="142" y="202"/>
                  </a:lnTo>
                  <a:lnTo>
                    <a:pt x="158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" y="36"/>
                  </a:lnTo>
                  <a:lnTo>
                    <a:pt x="2" y="59"/>
                  </a:lnTo>
                  <a:lnTo>
                    <a:pt x="6" y="81"/>
                  </a:lnTo>
                  <a:lnTo>
                    <a:pt x="10" y="102"/>
                  </a:lnTo>
                  <a:lnTo>
                    <a:pt x="15" y="121"/>
                  </a:lnTo>
                  <a:lnTo>
                    <a:pt x="20" y="139"/>
                  </a:lnTo>
                  <a:lnTo>
                    <a:pt x="28" y="157"/>
                  </a:lnTo>
                  <a:lnTo>
                    <a:pt x="35" y="172"/>
                  </a:lnTo>
                  <a:lnTo>
                    <a:pt x="44" y="188"/>
                  </a:lnTo>
                  <a:lnTo>
                    <a:pt x="51" y="201"/>
                  </a:lnTo>
                  <a:lnTo>
                    <a:pt x="60" y="213"/>
                  </a:lnTo>
                  <a:lnTo>
                    <a:pt x="69" y="225"/>
                  </a:lnTo>
                  <a:lnTo>
                    <a:pt x="80" y="235"/>
                  </a:lnTo>
                  <a:lnTo>
                    <a:pt x="89" y="244"/>
                  </a:lnTo>
                  <a:lnTo>
                    <a:pt x="99" y="252"/>
                  </a:lnTo>
                  <a:lnTo>
                    <a:pt x="108" y="258"/>
                  </a:lnTo>
                  <a:lnTo>
                    <a:pt x="108" y="456"/>
                  </a:lnTo>
                  <a:lnTo>
                    <a:pt x="253" y="456"/>
                  </a:lnTo>
                  <a:lnTo>
                    <a:pt x="253" y="258"/>
                  </a:lnTo>
                  <a:lnTo>
                    <a:pt x="262" y="252"/>
                  </a:lnTo>
                  <a:lnTo>
                    <a:pt x="272" y="244"/>
                  </a:lnTo>
                  <a:lnTo>
                    <a:pt x="281" y="235"/>
                  </a:lnTo>
                  <a:lnTo>
                    <a:pt x="291" y="225"/>
                  </a:lnTo>
                  <a:lnTo>
                    <a:pt x="300" y="213"/>
                  </a:lnTo>
                  <a:lnTo>
                    <a:pt x="309" y="201"/>
                  </a:lnTo>
                  <a:lnTo>
                    <a:pt x="318" y="188"/>
                  </a:lnTo>
                  <a:lnTo>
                    <a:pt x="326" y="172"/>
                  </a:lnTo>
                  <a:lnTo>
                    <a:pt x="334" y="157"/>
                  </a:lnTo>
                  <a:lnTo>
                    <a:pt x="340" y="139"/>
                  </a:lnTo>
                  <a:lnTo>
                    <a:pt x="345" y="121"/>
                  </a:lnTo>
                  <a:lnTo>
                    <a:pt x="351" y="102"/>
                  </a:lnTo>
                  <a:lnTo>
                    <a:pt x="356" y="81"/>
                  </a:lnTo>
                  <a:lnTo>
                    <a:pt x="358" y="59"/>
                  </a:lnTo>
                  <a:lnTo>
                    <a:pt x="359" y="36"/>
                  </a:lnTo>
                  <a:lnTo>
                    <a:pt x="361" y="12"/>
                  </a:lnTo>
                  <a:lnTo>
                    <a:pt x="3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1" name="Freeform 3586"/>
            <p:cNvSpPr/>
            <p:nvPr/>
          </p:nvSpPr>
          <p:spPr bwMode="auto">
            <a:xfrm>
              <a:off x="7804150" y="6103938"/>
              <a:ext cx="47625" cy="104775"/>
            </a:xfrm>
            <a:custGeom>
              <a:avLst/>
              <a:gdLst>
                <a:gd name="T0" fmla="*/ 72 w 120"/>
                <a:gd name="T1" fmla="*/ 24 h 264"/>
                <a:gd name="T2" fmla="*/ 72 w 120"/>
                <a:gd name="T3" fmla="*/ 0 h 264"/>
                <a:gd name="T4" fmla="*/ 48 w 120"/>
                <a:gd name="T5" fmla="*/ 0 h 264"/>
                <a:gd name="T6" fmla="*/ 48 w 120"/>
                <a:gd name="T7" fmla="*/ 24 h 264"/>
                <a:gd name="T8" fmla="*/ 0 w 120"/>
                <a:gd name="T9" fmla="*/ 24 h 264"/>
                <a:gd name="T10" fmla="*/ 0 w 120"/>
                <a:gd name="T11" fmla="*/ 264 h 264"/>
                <a:gd name="T12" fmla="*/ 120 w 120"/>
                <a:gd name="T13" fmla="*/ 264 h 264"/>
                <a:gd name="T14" fmla="*/ 120 w 120"/>
                <a:gd name="T15" fmla="*/ 24 h 264"/>
                <a:gd name="T16" fmla="*/ 72 w 120"/>
                <a:gd name="T17" fmla="*/ 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264">
                  <a:moveTo>
                    <a:pt x="72" y="24"/>
                  </a:moveTo>
                  <a:lnTo>
                    <a:pt x="72" y="0"/>
                  </a:lnTo>
                  <a:lnTo>
                    <a:pt x="48" y="0"/>
                  </a:lnTo>
                  <a:lnTo>
                    <a:pt x="48" y="24"/>
                  </a:lnTo>
                  <a:lnTo>
                    <a:pt x="0" y="24"/>
                  </a:lnTo>
                  <a:lnTo>
                    <a:pt x="0" y="264"/>
                  </a:lnTo>
                  <a:lnTo>
                    <a:pt x="120" y="264"/>
                  </a:lnTo>
                  <a:lnTo>
                    <a:pt x="120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1" name="Freeform 391"/>
          <p:cNvSpPr>
            <a:spLocks noEditPoints="1"/>
          </p:cNvSpPr>
          <p:nvPr/>
        </p:nvSpPr>
        <p:spPr bwMode="auto">
          <a:xfrm>
            <a:off x="4606131" y="2219328"/>
            <a:ext cx="287338" cy="287338"/>
          </a:xfrm>
          <a:custGeom>
            <a:avLst/>
            <a:gdLst>
              <a:gd name="T0" fmla="*/ 515 w 903"/>
              <a:gd name="T1" fmla="*/ 619 h 904"/>
              <a:gd name="T2" fmla="*/ 486 w 903"/>
              <a:gd name="T3" fmla="*/ 580 h 904"/>
              <a:gd name="T4" fmla="*/ 488 w 903"/>
              <a:gd name="T5" fmla="*/ 528 h 904"/>
              <a:gd name="T6" fmla="*/ 521 w 903"/>
              <a:gd name="T7" fmla="*/ 491 h 904"/>
              <a:gd name="T8" fmla="*/ 573 w 903"/>
              <a:gd name="T9" fmla="*/ 483 h 904"/>
              <a:gd name="T10" fmla="*/ 616 w 903"/>
              <a:gd name="T11" fmla="*/ 509 h 904"/>
              <a:gd name="T12" fmla="*/ 633 w 903"/>
              <a:gd name="T13" fmla="*/ 557 h 904"/>
              <a:gd name="T14" fmla="*/ 616 w 903"/>
              <a:gd name="T15" fmla="*/ 604 h 904"/>
              <a:gd name="T16" fmla="*/ 573 w 903"/>
              <a:gd name="T17" fmla="*/ 631 h 904"/>
              <a:gd name="T18" fmla="*/ 305 w 903"/>
              <a:gd name="T19" fmla="*/ 617 h 904"/>
              <a:gd name="T20" fmla="*/ 288 w 903"/>
              <a:gd name="T21" fmla="*/ 608 h 904"/>
              <a:gd name="T22" fmla="*/ 592 w 903"/>
              <a:gd name="T23" fmla="*/ 290 h 904"/>
              <a:gd name="T24" fmla="*/ 610 w 903"/>
              <a:gd name="T25" fmla="*/ 289 h 904"/>
              <a:gd name="T26" fmla="*/ 617 w 903"/>
              <a:gd name="T27" fmla="*/ 307 h 904"/>
              <a:gd name="T28" fmla="*/ 275 w 903"/>
              <a:gd name="T29" fmla="*/ 324 h 904"/>
              <a:gd name="T30" fmla="*/ 305 w 903"/>
              <a:gd name="T31" fmla="*/ 284 h 904"/>
              <a:gd name="T32" fmla="*/ 354 w 903"/>
              <a:gd name="T33" fmla="*/ 272 h 904"/>
              <a:gd name="T34" fmla="*/ 400 w 903"/>
              <a:gd name="T35" fmla="*/ 293 h 904"/>
              <a:gd name="T36" fmla="*/ 422 w 903"/>
              <a:gd name="T37" fmla="*/ 338 h 904"/>
              <a:gd name="T38" fmla="*/ 409 w 903"/>
              <a:gd name="T39" fmla="*/ 389 h 904"/>
              <a:gd name="T40" fmla="*/ 369 w 903"/>
              <a:gd name="T41" fmla="*/ 418 h 904"/>
              <a:gd name="T42" fmla="*/ 318 w 903"/>
              <a:gd name="T43" fmla="*/ 416 h 904"/>
              <a:gd name="T44" fmla="*/ 280 w 903"/>
              <a:gd name="T45" fmla="*/ 382 h 904"/>
              <a:gd name="T46" fmla="*/ 903 w 903"/>
              <a:gd name="T47" fmla="*/ 452 h 904"/>
              <a:gd name="T48" fmla="*/ 866 w 903"/>
              <a:gd name="T49" fmla="*/ 378 h 904"/>
              <a:gd name="T50" fmla="*/ 875 w 903"/>
              <a:gd name="T51" fmla="*/ 303 h 904"/>
              <a:gd name="T52" fmla="*/ 829 w 903"/>
              <a:gd name="T53" fmla="*/ 234 h 904"/>
              <a:gd name="T54" fmla="*/ 795 w 903"/>
              <a:gd name="T55" fmla="*/ 175 h 904"/>
              <a:gd name="T56" fmla="*/ 750 w 903"/>
              <a:gd name="T57" fmla="*/ 116 h 904"/>
              <a:gd name="T58" fmla="*/ 680 w 903"/>
              <a:gd name="T59" fmla="*/ 110 h 904"/>
              <a:gd name="T60" fmla="*/ 636 w 903"/>
              <a:gd name="T61" fmla="*/ 40 h 904"/>
              <a:gd name="T62" fmla="*/ 552 w 903"/>
              <a:gd name="T63" fmla="*/ 36 h 904"/>
              <a:gd name="T64" fmla="*/ 488 w 903"/>
              <a:gd name="T65" fmla="*/ 8 h 904"/>
              <a:gd name="T66" fmla="*/ 404 w 903"/>
              <a:gd name="T67" fmla="*/ 13 h 904"/>
              <a:gd name="T68" fmla="*/ 340 w 903"/>
              <a:gd name="T69" fmla="*/ 32 h 904"/>
              <a:gd name="T70" fmla="*/ 257 w 903"/>
              <a:gd name="T71" fmla="*/ 47 h 904"/>
              <a:gd name="T72" fmla="*/ 210 w 903"/>
              <a:gd name="T73" fmla="*/ 107 h 904"/>
              <a:gd name="T74" fmla="*/ 146 w 903"/>
              <a:gd name="T75" fmla="*/ 121 h 904"/>
              <a:gd name="T76" fmla="*/ 106 w 903"/>
              <a:gd name="T77" fmla="*/ 187 h 904"/>
              <a:gd name="T78" fmla="*/ 64 w 903"/>
              <a:gd name="T79" fmla="*/ 241 h 904"/>
              <a:gd name="T80" fmla="*/ 28 w 903"/>
              <a:gd name="T81" fmla="*/ 316 h 904"/>
              <a:gd name="T82" fmla="*/ 29 w 903"/>
              <a:gd name="T83" fmla="*/ 386 h 904"/>
              <a:gd name="T84" fmla="*/ 1 w 903"/>
              <a:gd name="T85" fmla="*/ 464 h 904"/>
              <a:gd name="T86" fmla="*/ 48 w 903"/>
              <a:gd name="T87" fmla="*/ 531 h 904"/>
              <a:gd name="T88" fmla="*/ 30 w 903"/>
              <a:gd name="T89" fmla="*/ 613 h 904"/>
              <a:gd name="T90" fmla="*/ 86 w 903"/>
              <a:gd name="T91" fmla="*/ 674 h 904"/>
              <a:gd name="T92" fmla="*/ 113 w 903"/>
              <a:gd name="T93" fmla="*/ 740 h 904"/>
              <a:gd name="T94" fmla="*/ 162 w 903"/>
              <a:gd name="T95" fmla="*/ 791 h 904"/>
              <a:gd name="T96" fmla="*/ 225 w 903"/>
              <a:gd name="T97" fmla="*/ 806 h 904"/>
              <a:gd name="T98" fmla="*/ 279 w 903"/>
              <a:gd name="T99" fmla="*/ 869 h 904"/>
              <a:gd name="T100" fmla="*/ 362 w 903"/>
              <a:gd name="T101" fmla="*/ 862 h 904"/>
              <a:gd name="T102" fmla="*/ 427 w 903"/>
              <a:gd name="T103" fmla="*/ 900 h 904"/>
              <a:gd name="T104" fmla="*/ 510 w 903"/>
              <a:gd name="T105" fmla="*/ 883 h 904"/>
              <a:gd name="T106" fmla="*/ 576 w 903"/>
              <a:gd name="T107" fmla="*/ 875 h 904"/>
              <a:gd name="T108" fmla="*/ 655 w 903"/>
              <a:gd name="T109" fmla="*/ 848 h 904"/>
              <a:gd name="T110" fmla="*/ 707 w 903"/>
              <a:gd name="T111" fmla="*/ 797 h 904"/>
              <a:gd name="T112" fmla="*/ 765 w 903"/>
              <a:gd name="T113" fmla="*/ 777 h 904"/>
              <a:gd name="T114" fmla="*/ 798 w 903"/>
              <a:gd name="T115" fmla="*/ 704 h 904"/>
              <a:gd name="T116" fmla="*/ 848 w 903"/>
              <a:gd name="T117" fmla="*/ 655 h 904"/>
              <a:gd name="T118" fmla="*/ 875 w 903"/>
              <a:gd name="T119" fmla="*/ 575 h 904"/>
              <a:gd name="T120" fmla="*/ 883 w 903"/>
              <a:gd name="T121" fmla="*/ 509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3" h="904">
                <a:moveTo>
                  <a:pt x="558" y="632"/>
                </a:moveTo>
                <a:lnTo>
                  <a:pt x="549" y="632"/>
                </a:lnTo>
                <a:lnTo>
                  <a:pt x="542" y="631"/>
                </a:lnTo>
                <a:lnTo>
                  <a:pt x="535" y="629"/>
                </a:lnTo>
                <a:lnTo>
                  <a:pt x="528" y="627"/>
                </a:lnTo>
                <a:lnTo>
                  <a:pt x="521" y="624"/>
                </a:lnTo>
                <a:lnTo>
                  <a:pt x="515" y="619"/>
                </a:lnTo>
                <a:lnTo>
                  <a:pt x="510" y="615"/>
                </a:lnTo>
                <a:lnTo>
                  <a:pt x="504" y="610"/>
                </a:lnTo>
                <a:lnTo>
                  <a:pt x="499" y="604"/>
                </a:lnTo>
                <a:lnTo>
                  <a:pt x="495" y="599"/>
                </a:lnTo>
                <a:lnTo>
                  <a:pt x="491" y="593"/>
                </a:lnTo>
                <a:lnTo>
                  <a:pt x="488" y="586"/>
                </a:lnTo>
                <a:lnTo>
                  <a:pt x="486" y="580"/>
                </a:lnTo>
                <a:lnTo>
                  <a:pt x="484" y="572"/>
                </a:lnTo>
                <a:lnTo>
                  <a:pt x="483" y="565"/>
                </a:lnTo>
                <a:lnTo>
                  <a:pt x="482" y="557"/>
                </a:lnTo>
                <a:lnTo>
                  <a:pt x="483" y="550"/>
                </a:lnTo>
                <a:lnTo>
                  <a:pt x="484" y="542"/>
                </a:lnTo>
                <a:lnTo>
                  <a:pt x="486" y="535"/>
                </a:lnTo>
                <a:lnTo>
                  <a:pt x="488" y="528"/>
                </a:lnTo>
                <a:lnTo>
                  <a:pt x="491" y="521"/>
                </a:lnTo>
                <a:lnTo>
                  <a:pt x="495" y="515"/>
                </a:lnTo>
                <a:lnTo>
                  <a:pt x="499" y="509"/>
                </a:lnTo>
                <a:lnTo>
                  <a:pt x="504" y="504"/>
                </a:lnTo>
                <a:lnTo>
                  <a:pt x="510" y="499"/>
                </a:lnTo>
                <a:lnTo>
                  <a:pt x="515" y="495"/>
                </a:lnTo>
                <a:lnTo>
                  <a:pt x="521" y="491"/>
                </a:lnTo>
                <a:lnTo>
                  <a:pt x="528" y="487"/>
                </a:lnTo>
                <a:lnTo>
                  <a:pt x="535" y="485"/>
                </a:lnTo>
                <a:lnTo>
                  <a:pt x="542" y="483"/>
                </a:lnTo>
                <a:lnTo>
                  <a:pt x="549" y="482"/>
                </a:lnTo>
                <a:lnTo>
                  <a:pt x="558" y="482"/>
                </a:lnTo>
                <a:lnTo>
                  <a:pt x="565" y="482"/>
                </a:lnTo>
                <a:lnTo>
                  <a:pt x="573" y="483"/>
                </a:lnTo>
                <a:lnTo>
                  <a:pt x="579" y="485"/>
                </a:lnTo>
                <a:lnTo>
                  <a:pt x="587" y="487"/>
                </a:lnTo>
                <a:lnTo>
                  <a:pt x="593" y="491"/>
                </a:lnTo>
                <a:lnTo>
                  <a:pt x="600" y="495"/>
                </a:lnTo>
                <a:lnTo>
                  <a:pt x="605" y="499"/>
                </a:lnTo>
                <a:lnTo>
                  <a:pt x="610" y="504"/>
                </a:lnTo>
                <a:lnTo>
                  <a:pt x="616" y="509"/>
                </a:lnTo>
                <a:lnTo>
                  <a:pt x="620" y="515"/>
                </a:lnTo>
                <a:lnTo>
                  <a:pt x="623" y="521"/>
                </a:lnTo>
                <a:lnTo>
                  <a:pt x="626" y="528"/>
                </a:lnTo>
                <a:lnTo>
                  <a:pt x="630" y="535"/>
                </a:lnTo>
                <a:lnTo>
                  <a:pt x="631" y="542"/>
                </a:lnTo>
                <a:lnTo>
                  <a:pt x="632" y="550"/>
                </a:lnTo>
                <a:lnTo>
                  <a:pt x="633" y="557"/>
                </a:lnTo>
                <a:lnTo>
                  <a:pt x="632" y="565"/>
                </a:lnTo>
                <a:lnTo>
                  <a:pt x="631" y="572"/>
                </a:lnTo>
                <a:lnTo>
                  <a:pt x="630" y="580"/>
                </a:lnTo>
                <a:lnTo>
                  <a:pt x="626" y="586"/>
                </a:lnTo>
                <a:lnTo>
                  <a:pt x="623" y="593"/>
                </a:lnTo>
                <a:lnTo>
                  <a:pt x="620" y="599"/>
                </a:lnTo>
                <a:lnTo>
                  <a:pt x="616" y="604"/>
                </a:lnTo>
                <a:lnTo>
                  <a:pt x="610" y="610"/>
                </a:lnTo>
                <a:lnTo>
                  <a:pt x="605" y="615"/>
                </a:lnTo>
                <a:lnTo>
                  <a:pt x="600" y="619"/>
                </a:lnTo>
                <a:lnTo>
                  <a:pt x="593" y="624"/>
                </a:lnTo>
                <a:lnTo>
                  <a:pt x="587" y="627"/>
                </a:lnTo>
                <a:lnTo>
                  <a:pt x="579" y="629"/>
                </a:lnTo>
                <a:lnTo>
                  <a:pt x="573" y="631"/>
                </a:lnTo>
                <a:lnTo>
                  <a:pt x="565" y="632"/>
                </a:lnTo>
                <a:lnTo>
                  <a:pt x="558" y="632"/>
                </a:lnTo>
                <a:lnTo>
                  <a:pt x="558" y="632"/>
                </a:lnTo>
                <a:close/>
                <a:moveTo>
                  <a:pt x="312" y="613"/>
                </a:moveTo>
                <a:lnTo>
                  <a:pt x="310" y="615"/>
                </a:lnTo>
                <a:lnTo>
                  <a:pt x="307" y="616"/>
                </a:lnTo>
                <a:lnTo>
                  <a:pt x="305" y="617"/>
                </a:lnTo>
                <a:lnTo>
                  <a:pt x="301" y="617"/>
                </a:lnTo>
                <a:lnTo>
                  <a:pt x="298" y="617"/>
                </a:lnTo>
                <a:lnTo>
                  <a:pt x="296" y="616"/>
                </a:lnTo>
                <a:lnTo>
                  <a:pt x="293" y="615"/>
                </a:lnTo>
                <a:lnTo>
                  <a:pt x="291" y="613"/>
                </a:lnTo>
                <a:lnTo>
                  <a:pt x="289" y="611"/>
                </a:lnTo>
                <a:lnTo>
                  <a:pt x="288" y="608"/>
                </a:lnTo>
                <a:lnTo>
                  <a:pt x="286" y="605"/>
                </a:lnTo>
                <a:lnTo>
                  <a:pt x="286" y="602"/>
                </a:lnTo>
                <a:lnTo>
                  <a:pt x="286" y="599"/>
                </a:lnTo>
                <a:lnTo>
                  <a:pt x="288" y="597"/>
                </a:lnTo>
                <a:lnTo>
                  <a:pt x="289" y="594"/>
                </a:lnTo>
                <a:lnTo>
                  <a:pt x="291" y="591"/>
                </a:lnTo>
                <a:lnTo>
                  <a:pt x="592" y="290"/>
                </a:lnTo>
                <a:lnTo>
                  <a:pt x="594" y="289"/>
                </a:lnTo>
                <a:lnTo>
                  <a:pt x="596" y="287"/>
                </a:lnTo>
                <a:lnTo>
                  <a:pt x="600" y="286"/>
                </a:lnTo>
                <a:lnTo>
                  <a:pt x="603" y="286"/>
                </a:lnTo>
                <a:lnTo>
                  <a:pt x="605" y="286"/>
                </a:lnTo>
                <a:lnTo>
                  <a:pt x="608" y="287"/>
                </a:lnTo>
                <a:lnTo>
                  <a:pt x="610" y="289"/>
                </a:lnTo>
                <a:lnTo>
                  <a:pt x="614" y="290"/>
                </a:lnTo>
                <a:lnTo>
                  <a:pt x="615" y="293"/>
                </a:lnTo>
                <a:lnTo>
                  <a:pt x="617" y="295"/>
                </a:lnTo>
                <a:lnTo>
                  <a:pt x="617" y="299"/>
                </a:lnTo>
                <a:lnTo>
                  <a:pt x="618" y="301"/>
                </a:lnTo>
                <a:lnTo>
                  <a:pt x="617" y="304"/>
                </a:lnTo>
                <a:lnTo>
                  <a:pt x="617" y="307"/>
                </a:lnTo>
                <a:lnTo>
                  <a:pt x="615" y="309"/>
                </a:lnTo>
                <a:lnTo>
                  <a:pt x="614" y="312"/>
                </a:lnTo>
                <a:lnTo>
                  <a:pt x="312" y="613"/>
                </a:lnTo>
                <a:close/>
                <a:moveTo>
                  <a:pt x="271" y="346"/>
                </a:moveTo>
                <a:lnTo>
                  <a:pt x="271" y="338"/>
                </a:lnTo>
                <a:lnTo>
                  <a:pt x="273" y="331"/>
                </a:lnTo>
                <a:lnTo>
                  <a:pt x="275" y="324"/>
                </a:lnTo>
                <a:lnTo>
                  <a:pt x="277" y="317"/>
                </a:lnTo>
                <a:lnTo>
                  <a:pt x="280" y="310"/>
                </a:lnTo>
                <a:lnTo>
                  <a:pt x="284" y="304"/>
                </a:lnTo>
                <a:lnTo>
                  <a:pt x="289" y="299"/>
                </a:lnTo>
                <a:lnTo>
                  <a:pt x="293" y="293"/>
                </a:lnTo>
                <a:lnTo>
                  <a:pt x="298" y="288"/>
                </a:lnTo>
                <a:lnTo>
                  <a:pt x="305" y="284"/>
                </a:lnTo>
                <a:lnTo>
                  <a:pt x="311" y="280"/>
                </a:lnTo>
                <a:lnTo>
                  <a:pt x="318" y="277"/>
                </a:lnTo>
                <a:lnTo>
                  <a:pt x="324" y="274"/>
                </a:lnTo>
                <a:lnTo>
                  <a:pt x="331" y="273"/>
                </a:lnTo>
                <a:lnTo>
                  <a:pt x="339" y="272"/>
                </a:lnTo>
                <a:lnTo>
                  <a:pt x="347" y="271"/>
                </a:lnTo>
                <a:lnTo>
                  <a:pt x="354" y="272"/>
                </a:lnTo>
                <a:lnTo>
                  <a:pt x="362" y="273"/>
                </a:lnTo>
                <a:lnTo>
                  <a:pt x="369" y="274"/>
                </a:lnTo>
                <a:lnTo>
                  <a:pt x="375" y="277"/>
                </a:lnTo>
                <a:lnTo>
                  <a:pt x="382" y="280"/>
                </a:lnTo>
                <a:lnTo>
                  <a:pt x="388" y="284"/>
                </a:lnTo>
                <a:lnTo>
                  <a:pt x="395" y="288"/>
                </a:lnTo>
                <a:lnTo>
                  <a:pt x="400" y="293"/>
                </a:lnTo>
                <a:lnTo>
                  <a:pt x="404" y="299"/>
                </a:lnTo>
                <a:lnTo>
                  <a:pt x="409" y="304"/>
                </a:lnTo>
                <a:lnTo>
                  <a:pt x="413" y="310"/>
                </a:lnTo>
                <a:lnTo>
                  <a:pt x="416" y="317"/>
                </a:lnTo>
                <a:lnTo>
                  <a:pt x="418" y="324"/>
                </a:lnTo>
                <a:lnTo>
                  <a:pt x="421" y="331"/>
                </a:lnTo>
                <a:lnTo>
                  <a:pt x="422" y="338"/>
                </a:lnTo>
                <a:lnTo>
                  <a:pt x="422" y="346"/>
                </a:lnTo>
                <a:lnTo>
                  <a:pt x="422" y="354"/>
                </a:lnTo>
                <a:lnTo>
                  <a:pt x="421" y="362"/>
                </a:lnTo>
                <a:lnTo>
                  <a:pt x="418" y="368"/>
                </a:lnTo>
                <a:lnTo>
                  <a:pt x="416" y="376"/>
                </a:lnTo>
                <a:lnTo>
                  <a:pt x="413" y="382"/>
                </a:lnTo>
                <a:lnTo>
                  <a:pt x="409" y="389"/>
                </a:lnTo>
                <a:lnTo>
                  <a:pt x="404" y="394"/>
                </a:lnTo>
                <a:lnTo>
                  <a:pt x="400" y="399"/>
                </a:lnTo>
                <a:lnTo>
                  <a:pt x="395" y="405"/>
                </a:lnTo>
                <a:lnTo>
                  <a:pt x="388" y="409"/>
                </a:lnTo>
                <a:lnTo>
                  <a:pt x="382" y="412"/>
                </a:lnTo>
                <a:lnTo>
                  <a:pt x="375" y="416"/>
                </a:lnTo>
                <a:lnTo>
                  <a:pt x="369" y="418"/>
                </a:lnTo>
                <a:lnTo>
                  <a:pt x="362" y="420"/>
                </a:lnTo>
                <a:lnTo>
                  <a:pt x="354" y="421"/>
                </a:lnTo>
                <a:lnTo>
                  <a:pt x="347" y="422"/>
                </a:lnTo>
                <a:lnTo>
                  <a:pt x="339" y="421"/>
                </a:lnTo>
                <a:lnTo>
                  <a:pt x="331" y="420"/>
                </a:lnTo>
                <a:lnTo>
                  <a:pt x="324" y="418"/>
                </a:lnTo>
                <a:lnTo>
                  <a:pt x="318" y="416"/>
                </a:lnTo>
                <a:lnTo>
                  <a:pt x="311" y="412"/>
                </a:lnTo>
                <a:lnTo>
                  <a:pt x="305" y="409"/>
                </a:lnTo>
                <a:lnTo>
                  <a:pt x="298" y="405"/>
                </a:lnTo>
                <a:lnTo>
                  <a:pt x="293" y="399"/>
                </a:lnTo>
                <a:lnTo>
                  <a:pt x="289" y="394"/>
                </a:lnTo>
                <a:lnTo>
                  <a:pt x="284" y="389"/>
                </a:lnTo>
                <a:lnTo>
                  <a:pt x="280" y="382"/>
                </a:lnTo>
                <a:lnTo>
                  <a:pt x="277" y="376"/>
                </a:lnTo>
                <a:lnTo>
                  <a:pt x="275" y="368"/>
                </a:lnTo>
                <a:lnTo>
                  <a:pt x="273" y="362"/>
                </a:lnTo>
                <a:lnTo>
                  <a:pt x="271" y="354"/>
                </a:lnTo>
                <a:lnTo>
                  <a:pt x="271" y="346"/>
                </a:lnTo>
                <a:lnTo>
                  <a:pt x="271" y="346"/>
                </a:lnTo>
                <a:close/>
                <a:moveTo>
                  <a:pt x="903" y="452"/>
                </a:moveTo>
                <a:lnTo>
                  <a:pt x="903" y="439"/>
                </a:lnTo>
                <a:lnTo>
                  <a:pt x="900" y="426"/>
                </a:lnTo>
                <a:lnTo>
                  <a:pt x="896" y="416"/>
                </a:lnTo>
                <a:lnTo>
                  <a:pt x="890" y="405"/>
                </a:lnTo>
                <a:lnTo>
                  <a:pt x="883" y="394"/>
                </a:lnTo>
                <a:lnTo>
                  <a:pt x="875" y="386"/>
                </a:lnTo>
                <a:lnTo>
                  <a:pt x="866" y="378"/>
                </a:lnTo>
                <a:lnTo>
                  <a:pt x="855" y="372"/>
                </a:lnTo>
                <a:lnTo>
                  <a:pt x="862" y="362"/>
                </a:lnTo>
                <a:lnTo>
                  <a:pt x="868" y="351"/>
                </a:lnTo>
                <a:lnTo>
                  <a:pt x="872" y="339"/>
                </a:lnTo>
                <a:lnTo>
                  <a:pt x="875" y="328"/>
                </a:lnTo>
                <a:lnTo>
                  <a:pt x="876" y="316"/>
                </a:lnTo>
                <a:lnTo>
                  <a:pt x="875" y="303"/>
                </a:lnTo>
                <a:lnTo>
                  <a:pt x="873" y="291"/>
                </a:lnTo>
                <a:lnTo>
                  <a:pt x="869" y="279"/>
                </a:lnTo>
                <a:lnTo>
                  <a:pt x="863" y="268"/>
                </a:lnTo>
                <a:lnTo>
                  <a:pt x="857" y="258"/>
                </a:lnTo>
                <a:lnTo>
                  <a:pt x="848" y="248"/>
                </a:lnTo>
                <a:lnTo>
                  <a:pt x="839" y="241"/>
                </a:lnTo>
                <a:lnTo>
                  <a:pt x="829" y="234"/>
                </a:lnTo>
                <a:lnTo>
                  <a:pt x="817" y="229"/>
                </a:lnTo>
                <a:lnTo>
                  <a:pt x="807" y="225"/>
                </a:lnTo>
                <a:lnTo>
                  <a:pt x="794" y="224"/>
                </a:lnTo>
                <a:lnTo>
                  <a:pt x="797" y="211"/>
                </a:lnTo>
                <a:lnTo>
                  <a:pt x="798" y="199"/>
                </a:lnTo>
                <a:lnTo>
                  <a:pt x="797" y="187"/>
                </a:lnTo>
                <a:lnTo>
                  <a:pt x="795" y="175"/>
                </a:lnTo>
                <a:lnTo>
                  <a:pt x="792" y="163"/>
                </a:lnTo>
                <a:lnTo>
                  <a:pt x="786" y="153"/>
                </a:lnTo>
                <a:lnTo>
                  <a:pt x="780" y="142"/>
                </a:lnTo>
                <a:lnTo>
                  <a:pt x="771" y="132"/>
                </a:lnTo>
                <a:lnTo>
                  <a:pt x="765" y="126"/>
                </a:lnTo>
                <a:lnTo>
                  <a:pt x="757" y="121"/>
                </a:lnTo>
                <a:lnTo>
                  <a:pt x="750" y="116"/>
                </a:lnTo>
                <a:lnTo>
                  <a:pt x="742" y="113"/>
                </a:lnTo>
                <a:lnTo>
                  <a:pt x="734" y="110"/>
                </a:lnTo>
                <a:lnTo>
                  <a:pt x="725" y="108"/>
                </a:lnTo>
                <a:lnTo>
                  <a:pt x="717" y="107"/>
                </a:lnTo>
                <a:lnTo>
                  <a:pt x="707" y="106"/>
                </a:lnTo>
                <a:lnTo>
                  <a:pt x="694" y="107"/>
                </a:lnTo>
                <a:lnTo>
                  <a:pt x="680" y="110"/>
                </a:lnTo>
                <a:lnTo>
                  <a:pt x="678" y="98"/>
                </a:lnTo>
                <a:lnTo>
                  <a:pt x="675" y="86"/>
                </a:lnTo>
                <a:lnTo>
                  <a:pt x="669" y="74"/>
                </a:lnTo>
                <a:lnTo>
                  <a:pt x="663" y="65"/>
                </a:lnTo>
                <a:lnTo>
                  <a:pt x="655" y="55"/>
                </a:lnTo>
                <a:lnTo>
                  <a:pt x="647" y="48"/>
                </a:lnTo>
                <a:lnTo>
                  <a:pt x="636" y="40"/>
                </a:lnTo>
                <a:lnTo>
                  <a:pt x="624" y="35"/>
                </a:lnTo>
                <a:lnTo>
                  <a:pt x="612" y="30"/>
                </a:lnTo>
                <a:lnTo>
                  <a:pt x="601" y="28"/>
                </a:lnTo>
                <a:lnTo>
                  <a:pt x="588" y="27"/>
                </a:lnTo>
                <a:lnTo>
                  <a:pt x="576" y="28"/>
                </a:lnTo>
                <a:lnTo>
                  <a:pt x="564" y="32"/>
                </a:lnTo>
                <a:lnTo>
                  <a:pt x="552" y="36"/>
                </a:lnTo>
                <a:lnTo>
                  <a:pt x="542" y="41"/>
                </a:lnTo>
                <a:lnTo>
                  <a:pt x="532" y="49"/>
                </a:lnTo>
                <a:lnTo>
                  <a:pt x="526" y="38"/>
                </a:lnTo>
                <a:lnTo>
                  <a:pt x="518" y="28"/>
                </a:lnTo>
                <a:lnTo>
                  <a:pt x="510" y="20"/>
                </a:lnTo>
                <a:lnTo>
                  <a:pt x="499" y="13"/>
                </a:lnTo>
                <a:lnTo>
                  <a:pt x="488" y="8"/>
                </a:lnTo>
                <a:lnTo>
                  <a:pt x="476" y="4"/>
                </a:lnTo>
                <a:lnTo>
                  <a:pt x="464" y="0"/>
                </a:lnTo>
                <a:lnTo>
                  <a:pt x="452" y="0"/>
                </a:lnTo>
                <a:lnTo>
                  <a:pt x="439" y="0"/>
                </a:lnTo>
                <a:lnTo>
                  <a:pt x="427" y="4"/>
                </a:lnTo>
                <a:lnTo>
                  <a:pt x="415" y="8"/>
                </a:lnTo>
                <a:lnTo>
                  <a:pt x="404" y="13"/>
                </a:lnTo>
                <a:lnTo>
                  <a:pt x="395" y="20"/>
                </a:lnTo>
                <a:lnTo>
                  <a:pt x="386" y="28"/>
                </a:lnTo>
                <a:lnTo>
                  <a:pt x="379" y="38"/>
                </a:lnTo>
                <a:lnTo>
                  <a:pt x="371" y="49"/>
                </a:lnTo>
                <a:lnTo>
                  <a:pt x="362" y="41"/>
                </a:lnTo>
                <a:lnTo>
                  <a:pt x="351" y="36"/>
                </a:lnTo>
                <a:lnTo>
                  <a:pt x="340" y="32"/>
                </a:lnTo>
                <a:lnTo>
                  <a:pt x="327" y="28"/>
                </a:lnTo>
                <a:lnTo>
                  <a:pt x="315" y="27"/>
                </a:lnTo>
                <a:lnTo>
                  <a:pt x="304" y="28"/>
                </a:lnTo>
                <a:lnTo>
                  <a:pt x="291" y="30"/>
                </a:lnTo>
                <a:lnTo>
                  <a:pt x="279" y="35"/>
                </a:lnTo>
                <a:lnTo>
                  <a:pt x="268" y="40"/>
                </a:lnTo>
                <a:lnTo>
                  <a:pt x="257" y="47"/>
                </a:lnTo>
                <a:lnTo>
                  <a:pt x="249" y="55"/>
                </a:lnTo>
                <a:lnTo>
                  <a:pt x="240" y="65"/>
                </a:lnTo>
                <a:lnTo>
                  <a:pt x="234" y="74"/>
                </a:lnTo>
                <a:lnTo>
                  <a:pt x="229" y="86"/>
                </a:lnTo>
                <a:lnTo>
                  <a:pt x="225" y="98"/>
                </a:lnTo>
                <a:lnTo>
                  <a:pt x="223" y="110"/>
                </a:lnTo>
                <a:lnTo>
                  <a:pt x="210" y="107"/>
                </a:lnTo>
                <a:lnTo>
                  <a:pt x="196" y="106"/>
                </a:lnTo>
                <a:lnTo>
                  <a:pt x="188" y="107"/>
                </a:lnTo>
                <a:lnTo>
                  <a:pt x="179" y="108"/>
                </a:lnTo>
                <a:lnTo>
                  <a:pt x="171" y="110"/>
                </a:lnTo>
                <a:lnTo>
                  <a:pt x="162" y="113"/>
                </a:lnTo>
                <a:lnTo>
                  <a:pt x="155" y="116"/>
                </a:lnTo>
                <a:lnTo>
                  <a:pt x="146" y="121"/>
                </a:lnTo>
                <a:lnTo>
                  <a:pt x="140" y="126"/>
                </a:lnTo>
                <a:lnTo>
                  <a:pt x="133" y="132"/>
                </a:lnTo>
                <a:lnTo>
                  <a:pt x="125" y="142"/>
                </a:lnTo>
                <a:lnTo>
                  <a:pt x="117" y="153"/>
                </a:lnTo>
                <a:lnTo>
                  <a:pt x="113" y="163"/>
                </a:lnTo>
                <a:lnTo>
                  <a:pt x="108" y="175"/>
                </a:lnTo>
                <a:lnTo>
                  <a:pt x="106" y="187"/>
                </a:lnTo>
                <a:lnTo>
                  <a:pt x="106" y="199"/>
                </a:lnTo>
                <a:lnTo>
                  <a:pt x="107" y="211"/>
                </a:lnTo>
                <a:lnTo>
                  <a:pt x="109" y="224"/>
                </a:lnTo>
                <a:lnTo>
                  <a:pt x="98" y="225"/>
                </a:lnTo>
                <a:lnTo>
                  <a:pt x="86" y="229"/>
                </a:lnTo>
                <a:lnTo>
                  <a:pt x="75" y="234"/>
                </a:lnTo>
                <a:lnTo>
                  <a:pt x="64" y="241"/>
                </a:lnTo>
                <a:lnTo>
                  <a:pt x="56" y="248"/>
                </a:lnTo>
                <a:lnTo>
                  <a:pt x="47" y="258"/>
                </a:lnTo>
                <a:lnTo>
                  <a:pt x="40" y="268"/>
                </a:lnTo>
                <a:lnTo>
                  <a:pt x="34" y="279"/>
                </a:lnTo>
                <a:lnTo>
                  <a:pt x="30" y="291"/>
                </a:lnTo>
                <a:lnTo>
                  <a:pt x="28" y="303"/>
                </a:lnTo>
                <a:lnTo>
                  <a:pt x="28" y="316"/>
                </a:lnTo>
                <a:lnTo>
                  <a:pt x="29" y="328"/>
                </a:lnTo>
                <a:lnTo>
                  <a:pt x="31" y="339"/>
                </a:lnTo>
                <a:lnTo>
                  <a:pt x="35" y="351"/>
                </a:lnTo>
                <a:lnTo>
                  <a:pt x="42" y="362"/>
                </a:lnTo>
                <a:lnTo>
                  <a:pt x="48" y="372"/>
                </a:lnTo>
                <a:lnTo>
                  <a:pt x="39" y="378"/>
                </a:lnTo>
                <a:lnTo>
                  <a:pt x="29" y="386"/>
                </a:lnTo>
                <a:lnTo>
                  <a:pt x="20" y="394"/>
                </a:lnTo>
                <a:lnTo>
                  <a:pt x="14" y="405"/>
                </a:lnTo>
                <a:lnTo>
                  <a:pt x="8" y="416"/>
                </a:lnTo>
                <a:lnTo>
                  <a:pt x="3" y="427"/>
                </a:lnTo>
                <a:lnTo>
                  <a:pt x="1" y="439"/>
                </a:lnTo>
                <a:lnTo>
                  <a:pt x="0" y="452"/>
                </a:lnTo>
                <a:lnTo>
                  <a:pt x="1" y="464"/>
                </a:lnTo>
                <a:lnTo>
                  <a:pt x="3" y="477"/>
                </a:lnTo>
                <a:lnTo>
                  <a:pt x="8" y="488"/>
                </a:lnTo>
                <a:lnTo>
                  <a:pt x="14" y="499"/>
                </a:lnTo>
                <a:lnTo>
                  <a:pt x="20" y="509"/>
                </a:lnTo>
                <a:lnTo>
                  <a:pt x="29" y="517"/>
                </a:lnTo>
                <a:lnTo>
                  <a:pt x="38" y="525"/>
                </a:lnTo>
                <a:lnTo>
                  <a:pt x="48" y="531"/>
                </a:lnTo>
                <a:lnTo>
                  <a:pt x="41" y="542"/>
                </a:lnTo>
                <a:lnTo>
                  <a:pt x="35" y="553"/>
                </a:lnTo>
                <a:lnTo>
                  <a:pt x="31" y="564"/>
                </a:lnTo>
                <a:lnTo>
                  <a:pt x="29" y="575"/>
                </a:lnTo>
                <a:lnTo>
                  <a:pt x="28" y="588"/>
                </a:lnTo>
                <a:lnTo>
                  <a:pt x="28" y="600"/>
                </a:lnTo>
                <a:lnTo>
                  <a:pt x="30" y="613"/>
                </a:lnTo>
                <a:lnTo>
                  <a:pt x="34" y="625"/>
                </a:lnTo>
                <a:lnTo>
                  <a:pt x="40" y="635"/>
                </a:lnTo>
                <a:lnTo>
                  <a:pt x="47" y="646"/>
                </a:lnTo>
                <a:lnTo>
                  <a:pt x="56" y="655"/>
                </a:lnTo>
                <a:lnTo>
                  <a:pt x="64" y="663"/>
                </a:lnTo>
                <a:lnTo>
                  <a:pt x="75" y="670"/>
                </a:lnTo>
                <a:lnTo>
                  <a:pt x="86" y="674"/>
                </a:lnTo>
                <a:lnTo>
                  <a:pt x="98" y="678"/>
                </a:lnTo>
                <a:lnTo>
                  <a:pt x="109" y="681"/>
                </a:lnTo>
                <a:lnTo>
                  <a:pt x="107" y="692"/>
                </a:lnTo>
                <a:lnTo>
                  <a:pt x="106" y="704"/>
                </a:lnTo>
                <a:lnTo>
                  <a:pt x="106" y="716"/>
                </a:lnTo>
                <a:lnTo>
                  <a:pt x="108" y="729"/>
                </a:lnTo>
                <a:lnTo>
                  <a:pt x="113" y="740"/>
                </a:lnTo>
                <a:lnTo>
                  <a:pt x="118" y="751"/>
                </a:lnTo>
                <a:lnTo>
                  <a:pt x="125" y="761"/>
                </a:lnTo>
                <a:lnTo>
                  <a:pt x="133" y="771"/>
                </a:lnTo>
                <a:lnTo>
                  <a:pt x="140" y="777"/>
                </a:lnTo>
                <a:lnTo>
                  <a:pt x="147" y="782"/>
                </a:lnTo>
                <a:lnTo>
                  <a:pt x="155" y="787"/>
                </a:lnTo>
                <a:lnTo>
                  <a:pt x="162" y="791"/>
                </a:lnTo>
                <a:lnTo>
                  <a:pt x="171" y="794"/>
                </a:lnTo>
                <a:lnTo>
                  <a:pt x="179" y="796"/>
                </a:lnTo>
                <a:lnTo>
                  <a:pt x="188" y="797"/>
                </a:lnTo>
                <a:lnTo>
                  <a:pt x="196" y="797"/>
                </a:lnTo>
                <a:lnTo>
                  <a:pt x="210" y="796"/>
                </a:lnTo>
                <a:lnTo>
                  <a:pt x="223" y="793"/>
                </a:lnTo>
                <a:lnTo>
                  <a:pt x="225" y="806"/>
                </a:lnTo>
                <a:lnTo>
                  <a:pt x="229" y="818"/>
                </a:lnTo>
                <a:lnTo>
                  <a:pt x="234" y="829"/>
                </a:lnTo>
                <a:lnTo>
                  <a:pt x="240" y="838"/>
                </a:lnTo>
                <a:lnTo>
                  <a:pt x="248" y="848"/>
                </a:lnTo>
                <a:lnTo>
                  <a:pt x="257" y="856"/>
                </a:lnTo>
                <a:lnTo>
                  <a:pt x="268" y="863"/>
                </a:lnTo>
                <a:lnTo>
                  <a:pt x="279" y="869"/>
                </a:lnTo>
                <a:lnTo>
                  <a:pt x="291" y="873"/>
                </a:lnTo>
                <a:lnTo>
                  <a:pt x="304" y="875"/>
                </a:lnTo>
                <a:lnTo>
                  <a:pt x="315" y="876"/>
                </a:lnTo>
                <a:lnTo>
                  <a:pt x="327" y="875"/>
                </a:lnTo>
                <a:lnTo>
                  <a:pt x="340" y="871"/>
                </a:lnTo>
                <a:lnTo>
                  <a:pt x="351" y="868"/>
                </a:lnTo>
                <a:lnTo>
                  <a:pt x="362" y="862"/>
                </a:lnTo>
                <a:lnTo>
                  <a:pt x="371" y="855"/>
                </a:lnTo>
                <a:lnTo>
                  <a:pt x="379" y="865"/>
                </a:lnTo>
                <a:lnTo>
                  <a:pt x="386" y="875"/>
                </a:lnTo>
                <a:lnTo>
                  <a:pt x="395" y="883"/>
                </a:lnTo>
                <a:lnTo>
                  <a:pt x="404" y="890"/>
                </a:lnTo>
                <a:lnTo>
                  <a:pt x="415" y="896"/>
                </a:lnTo>
                <a:lnTo>
                  <a:pt x="427" y="900"/>
                </a:lnTo>
                <a:lnTo>
                  <a:pt x="439" y="903"/>
                </a:lnTo>
                <a:lnTo>
                  <a:pt x="452" y="904"/>
                </a:lnTo>
                <a:lnTo>
                  <a:pt x="464" y="903"/>
                </a:lnTo>
                <a:lnTo>
                  <a:pt x="476" y="899"/>
                </a:lnTo>
                <a:lnTo>
                  <a:pt x="488" y="896"/>
                </a:lnTo>
                <a:lnTo>
                  <a:pt x="499" y="890"/>
                </a:lnTo>
                <a:lnTo>
                  <a:pt x="510" y="883"/>
                </a:lnTo>
                <a:lnTo>
                  <a:pt x="518" y="875"/>
                </a:lnTo>
                <a:lnTo>
                  <a:pt x="526" y="865"/>
                </a:lnTo>
                <a:lnTo>
                  <a:pt x="532" y="855"/>
                </a:lnTo>
                <a:lnTo>
                  <a:pt x="542" y="862"/>
                </a:lnTo>
                <a:lnTo>
                  <a:pt x="552" y="868"/>
                </a:lnTo>
                <a:lnTo>
                  <a:pt x="564" y="871"/>
                </a:lnTo>
                <a:lnTo>
                  <a:pt x="576" y="875"/>
                </a:lnTo>
                <a:lnTo>
                  <a:pt x="588" y="876"/>
                </a:lnTo>
                <a:lnTo>
                  <a:pt x="601" y="875"/>
                </a:lnTo>
                <a:lnTo>
                  <a:pt x="612" y="873"/>
                </a:lnTo>
                <a:lnTo>
                  <a:pt x="624" y="869"/>
                </a:lnTo>
                <a:lnTo>
                  <a:pt x="636" y="863"/>
                </a:lnTo>
                <a:lnTo>
                  <a:pt x="647" y="856"/>
                </a:lnTo>
                <a:lnTo>
                  <a:pt x="655" y="848"/>
                </a:lnTo>
                <a:lnTo>
                  <a:pt x="663" y="838"/>
                </a:lnTo>
                <a:lnTo>
                  <a:pt x="669" y="829"/>
                </a:lnTo>
                <a:lnTo>
                  <a:pt x="675" y="818"/>
                </a:lnTo>
                <a:lnTo>
                  <a:pt x="678" y="806"/>
                </a:lnTo>
                <a:lnTo>
                  <a:pt x="680" y="793"/>
                </a:lnTo>
                <a:lnTo>
                  <a:pt x="694" y="796"/>
                </a:lnTo>
                <a:lnTo>
                  <a:pt x="707" y="797"/>
                </a:lnTo>
                <a:lnTo>
                  <a:pt x="717" y="797"/>
                </a:lnTo>
                <a:lnTo>
                  <a:pt x="725" y="796"/>
                </a:lnTo>
                <a:lnTo>
                  <a:pt x="734" y="794"/>
                </a:lnTo>
                <a:lnTo>
                  <a:pt x="742" y="791"/>
                </a:lnTo>
                <a:lnTo>
                  <a:pt x="750" y="787"/>
                </a:lnTo>
                <a:lnTo>
                  <a:pt x="757" y="782"/>
                </a:lnTo>
                <a:lnTo>
                  <a:pt x="765" y="777"/>
                </a:lnTo>
                <a:lnTo>
                  <a:pt x="771" y="771"/>
                </a:lnTo>
                <a:lnTo>
                  <a:pt x="780" y="761"/>
                </a:lnTo>
                <a:lnTo>
                  <a:pt x="786" y="751"/>
                </a:lnTo>
                <a:lnTo>
                  <a:pt x="792" y="740"/>
                </a:lnTo>
                <a:lnTo>
                  <a:pt x="795" y="729"/>
                </a:lnTo>
                <a:lnTo>
                  <a:pt x="797" y="716"/>
                </a:lnTo>
                <a:lnTo>
                  <a:pt x="798" y="704"/>
                </a:lnTo>
                <a:lnTo>
                  <a:pt x="797" y="692"/>
                </a:lnTo>
                <a:lnTo>
                  <a:pt x="794" y="681"/>
                </a:lnTo>
                <a:lnTo>
                  <a:pt x="807" y="678"/>
                </a:lnTo>
                <a:lnTo>
                  <a:pt x="817" y="674"/>
                </a:lnTo>
                <a:lnTo>
                  <a:pt x="829" y="670"/>
                </a:lnTo>
                <a:lnTo>
                  <a:pt x="839" y="663"/>
                </a:lnTo>
                <a:lnTo>
                  <a:pt x="848" y="655"/>
                </a:lnTo>
                <a:lnTo>
                  <a:pt x="857" y="646"/>
                </a:lnTo>
                <a:lnTo>
                  <a:pt x="863" y="635"/>
                </a:lnTo>
                <a:lnTo>
                  <a:pt x="869" y="625"/>
                </a:lnTo>
                <a:lnTo>
                  <a:pt x="873" y="613"/>
                </a:lnTo>
                <a:lnTo>
                  <a:pt x="875" y="600"/>
                </a:lnTo>
                <a:lnTo>
                  <a:pt x="876" y="588"/>
                </a:lnTo>
                <a:lnTo>
                  <a:pt x="875" y="575"/>
                </a:lnTo>
                <a:lnTo>
                  <a:pt x="872" y="564"/>
                </a:lnTo>
                <a:lnTo>
                  <a:pt x="868" y="553"/>
                </a:lnTo>
                <a:lnTo>
                  <a:pt x="862" y="542"/>
                </a:lnTo>
                <a:lnTo>
                  <a:pt x="855" y="531"/>
                </a:lnTo>
                <a:lnTo>
                  <a:pt x="866" y="525"/>
                </a:lnTo>
                <a:lnTo>
                  <a:pt x="875" y="517"/>
                </a:lnTo>
                <a:lnTo>
                  <a:pt x="883" y="509"/>
                </a:lnTo>
                <a:lnTo>
                  <a:pt x="890" y="499"/>
                </a:lnTo>
                <a:lnTo>
                  <a:pt x="896" y="488"/>
                </a:lnTo>
                <a:lnTo>
                  <a:pt x="900" y="477"/>
                </a:lnTo>
                <a:lnTo>
                  <a:pt x="903" y="464"/>
                </a:lnTo>
                <a:lnTo>
                  <a:pt x="903" y="4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62" name="Group 61"/>
          <p:cNvGrpSpPr/>
          <p:nvPr/>
        </p:nvGrpSpPr>
        <p:grpSpPr>
          <a:xfrm>
            <a:off x="7300119" y="2256635"/>
            <a:ext cx="284163" cy="212725"/>
            <a:chOff x="7610475" y="3671888"/>
            <a:chExt cx="284163" cy="212725"/>
          </a:xfrm>
          <a:solidFill>
            <a:schemeClr val="bg1"/>
          </a:solidFill>
        </p:grpSpPr>
        <p:sp>
          <p:nvSpPr>
            <p:cNvPr id="63" name="Freeform 3248"/>
            <p:cNvSpPr/>
            <p:nvPr/>
          </p:nvSpPr>
          <p:spPr bwMode="auto">
            <a:xfrm>
              <a:off x="7843838" y="3689350"/>
              <a:ext cx="50800" cy="177800"/>
            </a:xfrm>
            <a:custGeom>
              <a:avLst/>
              <a:gdLst>
                <a:gd name="T0" fmla="*/ 20 w 162"/>
                <a:gd name="T1" fmla="*/ 1 h 559"/>
                <a:gd name="T2" fmla="*/ 15 w 162"/>
                <a:gd name="T3" fmla="*/ 0 h 559"/>
                <a:gd name="T4" fmla="*/ 9 w 162"/>
                <a:gd name="T5" fmla="*/ 1 h 559"/>
                <a:gd name="T6" fmla="*/ 4 w 162"/>
                <a:gd name="T7" fmla="*/ 4 h 559"/>
                <a:gd name="T8" fmla="*/ 1 w 162"/>
                <a:gd name="T9" fmla="*/ 10 h 559"/>
                <a:gd name="T10" fmla="*/ 0 w 162"/>
                <a:gd name="T11" fmla="*/ 15 h 559"/>
                <a:gd name="T12" fmla="*/ 2 w 162"/>
                <a:gd name="T13" fmla="*/ 22 h 559"/>
                <a:gd name="T14" fmla="*/ 5 w 162"/>
                <a:gd name="T15" fmla="*/ 26 h 559"/>
                <a:gd name="T16" fmla="*/ 21 w 162"/>
                <a:gd name="T17" fmla="*/ 38 h 559"/>
                <a:gd name="T18" fmla="*/ 47 w 162"/>
                <a:gd name="T19" fmla="*/ 60 h 559"/>
                <a:gd name="T20" fmla="*/ 70 w 162"/>
                <a:gd name="T21" fmla="*/ 86 h 559"/>
                <a:gd name="T22" fmla="*/ 90 w 162"/>
                <a:gd name="T23" fmla="*/ 116 h 559"/>
                <a:gd name="T24" fmla="*/ 107 w 162"/>
                <a:gd name="T25" fmla="*/ 149 h 559"/>
                <a:gd name="T26" fmla="*/ 118 w 162"/>
                <a:gd name="T27" fmla="*/ 183 h 559"/>
                <a:gd name="T28" fmla="*/ 127 w 162"/>
                <a:gd name="T29" fmla="*/ 221 h 559"/>
                <a:gd name="T30" fmla="*/ 131 w 162"/>
                <a:gd name="T31" fmla="*/ 259 h 559"/>
                <a:gd name="T32" fmla="*/ 131 w 162"/>
                <a:gd name="T33" fmla="*/ 299 h 559"/>
                <a:gd name="T34" fmla="*/ 127 w 162"/>
                <a:gd name="T35" fmla="*/ 337 h 559"/>
                <a:gd name="T36" fmla="*/ 118 w 162"/>
                <a:gd name="T37" fmla="*/ 375 h 559"/>
                <a:gd name="T38" fmla="*/ 107 w 162"/>
                <a:gd name="T39" fmla="*/ 410 h 559"/>
                <a:gd name="T40" fmla="*/ 90 w 162"/>
                <a:gd name="T41" fmla="*/ 442 h 559"/>
                <a:gd name="T42" fmla="*/ 70 w 162"/>
                <a:gd name="T43" fmla="*/ 472 h 559"/>
                <a:gd name="T44" fmla="*/ 47 w 162"/>
                <a:gd name="T45" fmla="*/ 499 h 559"/>
                <a:gd name="T46" fmla="*/ 21 w 162"/>
                <a:gd name="T47" fmla="*/ 521 h 559"/>
                <a:gd name="T48" fmla="*/ 5 w 162"/>
                <a:gd name="T49" fmla="*/ 533 h 559"/>
                <a:gd name="T50" fmla="*/ 2 w 162"/>
                <a:gd name="T51" fmla="*/ 537 h 559"/>
                <a:gd name="T52" fmla="*/ 0 w 162"/>
                <a:gd name="T53" fmla="*/ 543 h 559"/>
                <a:gd name="T54" fmla="*/ 1 w 162"/>
                <a:gd name="T55" fmla="*/ 549 h 559"/>
                <a:gd name="T56" fmla="*/ 5 w 162"/>
                <a:gd name="T57" fmla="*/ 554 h 559"/>
                <a:gd name="T58" fmla="*/ 11 w 162"/>
                <a:gd name="T59" fmla="*/ 558 h 559"/>
                <a:gd name="T60" fmla="*/ 19 w 162"/>
                <a:gd name="T61" fmla="*/ 558 h 559"/>
                <a:gd name="T62" fmla="*/ 39 w 162"/>
                <a:gd name="T63" fmla="*/ 545 h 559"/>
                <a:gd name="T64" fmla="*/ 68 w 162"/>
                <a:gd name="T65" fmla="*/ 520 h 559"/>
                <a:gd name="T66" fmla="*/ 94 w 162"/>
                <a:gd name="T67" fmla="*/ 491 h 559"/>
                <a:gd name="T68" fmla="*/ 115 w 162"/>
                <a:gd name="T69" fmla="*/ 458 h 559"/>
                <a:gd name="T70" fmla="*/ 133 w 162"/>
                <a:gd name="T71" fmla="*/ 423 h 559"/>
                <a:gd name="T72" fmla="*/ 147 w 162"/>
                <a:gd name="T73" fmla="*/ 384 h 559"/>
                <a:gd name="T74" fmla="*/ 157 w 162"/>
                <a:gd name="T75" fmla="*/ 344 h 559"/>
                <a:gd name="T76" fmla="*/ 161 w 162"/>
                <a:gd name="T77" fmla="*/ 301 h 559"/>
                <a:gd name="T78" fmla="*/ 161 w 162"/>
                <a:gd name="T79" fmla="*/ 257 h 559"/>
                <a:gd name="T80" fmla="*/ 157 w 162"/>
                <a:gd name="T81" fmla="*/ 215 h 559"/>
                <a:gd name="T82" fmla="*/ 147 w 162"/>
                <a:gd name="T83" fmla="*/ 175 h 559"/>
                <a:gd name="T84" fmla="*/ 133 w 162"/>
                <a:gd name="T85" fmla="*/ 136 h 559"/>
                <a:gd name="T86" fmla="*/ 115 w 162"/>
                <a:gd name="T87" fmla="*/ 100 h 559"/>
                <a:gd name="T88" fmla="*/ 94 w 162"/>
                <a:gd name="T89" fmla="*/ 68 h 559"/>
                <a:gd name="T90" fmla="*/ 68 w 162"/>
                <a:gd name="T91" fmla="*/ 38 h 559"/>
                <a:gd name="T92" fmla="*/ 39 w 162"/>
                <a:gd name="T93" fmla="*/ 13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2" h="559">
                  <a:moveTo>
                    <a:pt x="23" y="2"/>
                  </a:move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21" y="38"/>
                  </a:lnTo>
                  <a:lnTo>
                    <a:pt x="35" y="48"/>
                  </a:lnTo>
                  <a:lnTo>
                    <a:pt x="47" y="60"/>
                  </a:lnTo>
                  <a:lnTo>
                    <a:pt x="60" y="73"/>
                  </a:lnTo>
                  <a:lnTo>
                    <a:pt x="70" y="86"/>
                  </a:lnTo>
                  <a:lnTo>
                    <a:pt x="81" y="101"/>
                  </a:lnTo>
                  <a:lnTo>
                    <a:pt x="90" y="116"/>
                  </a:lnTo>
                  <a:lnTo>
                    <a:pt x="98" y="132"/>
                  </a:lnTo>
                  <a:lnTo>
                    <a:pt x="107" y="149"/>
                  </a:lnTo>
                  <a:lnTo>
                    <a:pt x="113" y="166"/>
                  </a:lnTo>
                  <a:lnTo>
                    <a:pt x="118" y="183"/>
                  </a:lnTo>
                  <a:lnTo>
                    <a:pt x="124" y="202"/>
                  </a:lnTo>
                  <a:lnTo>
                    <a:pt x="127" y="221"/>
                  </a:lnTo>
                  <a:lnTo>
                    <a:pt x="130" y="240"/>
                  </a:lnTo>
                  <a:lnTo>
                    <a:pt x="131" y="259"/>
                  </a:lnTo>
                  <a:lnTo>
                    <a:pt x="132" y="279"/>
                  </a:lnTo>
                  <a:lnTo>
                    <a:pt x="131" y="299"/>
                  </a:lnTo>
                  <a:lnTo>
                    <a:pt x="130" y="319"/>
                  </a:lnTo>
                  <a:lnTo>
                    <a:pt x="127" y="337"/>
                  </a:lnTo>
                  <a:lnTo>
                    <a:pt x="124" y="356"/>
                  </a:lnTo>
                  <a:lnTo>
                    <a:pt x="118" y="375"/>
                  </a:lnTo>
                  <a:lnTo>
                    <a:pt x="113" y="393"/>
                  </a:lnTo>
                  <a:lnTo>
                    <a:pt x="107" y="410"/>
                  </a:lnTo>
                  <a:lnTo>
                    <a:pt x="98" y="426"/>
                  </a:lnTo>
                  <a:lnTo>
                    <a:pt x="90" y="442"/>
                  </a:lnTo>
                  <a:lnTo>
                    <a:pt x="81" y="458"/>
                  </a:lnTo>
                  <a:lnTo>
                    <a:pt x="70" y="472"/>
                  </a:lnTo>
                  <a:lnTo>
                    <a:pt x="60" y="486"/>
                  </a:lnTo>
                  <a:lnTo>
                    <a:pt x="47" y="499"/>
                  </a:lnTo>
                  <a:lnTo>
                    <a:pt x="35" y="510"/>
                  </a:lnTo>
                  <a:lnTo>
                    <a:pt x="21" y="521"/>
                  </a:lnTo>
                  <a:lnTo>
                    <a:pt x="7" y="531"/>
                  </a:lnTo>
                  <a:lnTo>
                    <a:pt x="5" y="533"/>
                  </a:lnTo>
                  <a:lnTo>
                    <a:pt x="3" y="535"/>
                  </a:lnTo>
                  <a:lnTo>
                    <a:pt x="2" y="537"/>
                  </a:lnTo>
                  <a:lnTo>
                    <a:pt x="1" y="540"/>
                  </a:lnTo>
                  <a:lnTo>
                    <a:pt x="0" y="543"/>
                  </a:lnTo>
                  <a:lnTo>
                    <a:pt x="1" y="546"/>
                  </a:lnTo>
                  <a:lnTo>
                    <a:pt x="1" y="549"/>
                  </a:lnTo>
                  <a:lnTo>
                    <a:pt x="3" y="551"/>
                  </a:lnTo>
                  <a:lnTo>
                    <a:pt x="5" y="554"/>
                  </a:lnTo>
                  <a:lnTo>
                    <a:pt x="8" y="556"/>
                  </a:lnTo>
                  <a:lnTo>
                    <a:pt x="11" y="558"/>
                  </a:lnTo>
                  <a:lnTo>
                    <a:pt x="15" y="559"/>
                  </a:lnTo>
                  <a:lnTo>
                    <a:pt x="19" y="558"/>
                  </a:lnTo>
                  <a:lnTo>
                    <a:pt x="23" y="555"/>
                  </a:lnTo>
                  <a:lnTo>
                    <a:pt x="39" y="545"/>
                  </a:lnTo>
                  <a:lnTo>
                    <a:pt x="53" y="533"/>
                  </a:lnTo>
                  <a:lnTo>
                    <a:pt x="68" y="520"/>
                  </a:lnTo>
                  <a:lnTo>
                    <a:pt x="81" y="506"/>
                  </a:lnTo>
                  <a:lnTo>
                    <a:pt x="94" y="491"/>
                  </a:lnTo>
                  <a:lnTo>
                    <a:pt x="105" y="475"/>
                  </a:lnTo>
                  <a:lnTo>
                    <a:pt x="115" y="458"/>
                  </a:lnTo>
                  <a:lnTo>
                    <a:pt x="125" y="441"/>
                  </a:lnTo>
                  <a:lnTo>
                    <a:pt x="133" y="423"/>
                  </a:lnTo>
                  <a:lnTo>
                    <a:pt x="141" y="403"/>
                  </a:lnTo>
                  <a:lnTo>
                    <a:pt x="147" y="384"/>
                  </a:lnTo>
                  <a:lnTo>
                    <a:pt x="153" y="364"/>
                  </a:lnTo>
                  <a:lnTo>
                    <a:pt x="157" y="344"/>
                  </a:lnTo>
                  <a:lnTo>
                    <a:pt x="159" y="322"/>
                  </a:lnTo>
                  <a:lnTo>
                    <a:pt x="161" y="301"/>
                  </a:lnTo>
                  <a:lnTo>
                    <a:pt x="162" y="279"/>
                  </a:lnTo>
                  <a:lnTo>
                    <a:pt x="161" y="257"/>
                  </a:lnTo>
                  <a:lnTo>
                    <a:pt x="159" y="236"/>
                  </a:lnTo>
                  <a:lnTo>
                    <a:pt x="157" y="215"/>
                  </a:lnTo>
                  <a:lnTo>
                    <a:pt x="153" y="195"/>
                  </a:lnTo>
                  <a:lnTo>
                    <a:pt x="147" y="175"/>
                  </a:lnTo>
                  <a:lnTo>
                    <a:pt x="141" y="154"/>
                  </a:lnTo>
                  <a:lnTo>
                    <a:pt x="133" y="136"/>
                  </a:lnTo>
                  <a:lnTo>
                    <a:pt x="125" y="118"/>
                  </a:lnTo>
                  <a:lnTo>
                    <a:pt x="115" y="100"/>
                  </a:lnTo>
                  <a:lnTo>
                    <a:pt x="105" y="83"/>
                  </a:lnTo>
                  <a:lnTo>
                    <a:pt x="94" y="68"/>
                  </a:lnTo>
                  <a:lnTo>
                    <a:pt x="81" y="53"/>
                  </a:lnTo>
                  <a:lnTo>
                    <a:pt x="68" y="38"/>
                  </a:lnTo>
                  <a:lnTo>
                    <a:pt x="53" y="25"/>
                  </a:lnTo>
                  <a:lnTo>
                    <a:pt x="39" y="13"/>
                  </a:lnTo>
                  <a:lnTo>
                    <a:pt x="2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4" name="Freeform 3249"/>
            <p:cNvSpPr/>
            <p:nvPr/>
          </p:nvSpPr>
          <p:spPr bwMode="auto">
            <a:xfrm>
              <a:off x="7824788" y="3708400"/>
              <a:ext cx="46038" cy="141288"/>
            </a:xfrm>
            <a:custGeom>
              <a:avLst/>
              <a:gdLst>
                <a:gd name="T0" fmla="*/ 142 w 142"/>
                <a:gd name="T1" fmla="*/ 204 h 445"/>
                <a:gd name="T2" fmla="*/ 138 w 142"/>
                <a:gd name="T3" fmla="*/ 170 h 445"/>
                <a:gd name="T4" fmla="*/ 130 w 142"/>
                <a:gd name="T5" fmla="*/ 137 h 445"/>
                <a:gd name="T6" fmla="*/ 117 w 142"/>
                <a:gd name="T7" fmla="*/ 106 h 445"/>
                <a:gd name="T8" fmla="*/ 102 w 142"/>
                <a:gd name="T9" fmla="*/ 77 h 445"/>
                <a:gd name="T10" fmla="*/ 82 w 142"/>
                <a:gd name="T11" fmla="*/ 51 h 445"/>
                <a:gd name="T12" fmla="*/ 60 w 142"/>
                <a:gd name="T13" fmla="*/ 28 h 445"/>
                <a:gd name="T14" fmla="*/ 35 w 142"/>
                <a:gd name="T15" fmla="*/ 9 h 445"/>
                <a:gd name="T16" fmla="*/ 18 w 142"/>
                <a:gd name="T17" fmla="*/ 0 h 445"/>
                <a:gd name="T18" fmla="*/ 13 w 142"/>
                <a:gd name="T19" fmla="*/ 0 h 445"/>
                <a:gd name="T20" fmla="*/ 8 w 142"/>
                <a:gd name="T21" fmla="*/ 1 h 445"/>
                <a:gd name="T22" fmla="*/ 3 w 142"/>
                <a:gd name="T23" fmla="*/ 5 h 445"/>
                <a:gd name="T24" fmla="*/ 0 w 142"/>
                <a:gd name="T25" fmla="*/ 11 h 445"/>
                <a:gd name="T26" fmla="*/ 0 w 142"/>
                <a:gd name="T27" fmla="*/ 16 h 445"/>
                <a:gd name="T28" fmla="*/ 1 w 142"/>
                <a:gd name="T29" fmla="*/ 21 h 445"/>
                <a:gd name="T30" fmla="*/ 5 w 142"/>
                <a:gd name="T31" fmla="*/ 27 h 445"/>
                <a:gd name="T32" fmla="*/ 19 w 142"/>
                <a:gd name="T33" fmla="*/ 35 h 445"/>
                <a:gd name="T34" fmla="*/ 41 w 142"/>
                <a:gd name="T35" fmla="*/ 51 h 445"/>
                <a:gd name="T36" fmla="*/ 60 w 142"/>
                <a:gd name="T37" fmla="*/ 70 h 445"/>
                <a:gd name="T38" fmla="*/ 77 w 142"/>
                <a:gd name="T39" fmla="*/ 94 h 445"/>
                <a:gd name="T40" fmla="*/ 91 w 142"/>
                <a:gd name="T41" fmla="*/ 119 h 445"/>
                <a:gd name="T42" fmla="*/ 102 w 142"/>
                <a:gd name="T43" fmla="*/ 146 h 445"/>
                <a:gd name="T44" fmla="*/ 108 w 142"/>
                <a:gd name="T45" fmla="*/ 175 h 445"/>
                <a:gd name="T46" fmla="*/ 112 w 142"/>
                <a:gd name="T47" fmla="*/ 206 h 445"/>
                <a:gd name="T48" fmla="*/ 112 w 142"/>
                <a:gd name="T49" fmla="*/ 237 h 445"/>
                <a:gd name="T50" fmla="*/ 108 w 142"/>
                <a:gd name="T51" fmla="*/ 268 h 445"/>
                <a:gd name="T52" fmla="*/ 102 w 142"/>
                <a:gd name="T53" fmla="*/ 297 h 445"/>
                <a:gd name="T54" fmla="*/ 91 w 142"/>
                <a:gd name="T55" fmla="*/ 325 h 445"/>
                <a:gd name="T56" fmla="*/ 77 w 142"/>
                <a:gd name="T57" fmla="*/ 351 h 445"/>
                <a:gd name="T58" fmla="*/ 60 w 142"/>
                <a:gd name="T59" fmla="*/ 373 h 445"/>
                <a:gd name="T60" fmla="*/ 41 w 142"/>
                <a:gd name="T61" fmla="*/ 394 h 445"/>
                <a:gd name="T62" fmla="*/ 19 w 142"/>
                <a:gd name="T63" fmla="*/ 410 h 445"/>
                <a:gd name="T64" fmla="*/ 5 w 142"/>
                <a:gd name="T65" fmla="*/ 418 h 445"/>
                <a:gd name="T66" fmla="*/ 1 w 142"/>
                <a:gd name="T67" fmla="*/ 422 h 445"/>
                <a:gd name="T68" fmla="*/ 0 w 142"/>
                <a:gd name="T69" fmla="*/ 428 h 445"/>
                <a:gd name="T70" fmla="*/ 0 w 142"/>
                <a:gd name="T71" fmla="*/ 434 h 445"/>
                <a:gd name="T72" fmla="*/ 3 w 142"/>
                <a:gd name="T73" fmla="*/ 440 h 445"/>
                <a:gd name="T74" fmla="*/ 11 w 142"/>
                <a:gd name="T75" fmla="*/ 444 h 445"/>
                <a:gd name="T76" fmla="*/ 18 w 142"/>
                <a:gd name="T77" fmla="*/ 444 h 445"/>
                <a:gd name="T78" fmla="*/ 35 w 142"/>
                <a:gd name="T79" fmla="*/ 435 h 445"/>
                <a:gd name="T80" fmla="*/ 60 w 142"/>
                <a:gd name="T81" fmla="*/ 416 h 445"/>
                <a:gd name="T82" fmla="*/ 82 w 142"/>
                <a:gd name="T83" fmla="*/ 394 h 445"/>
                <a:gd name="T84" fmla="*/ 102 w 142"/>
                <a:gd name="T85" fmla="*/ 368 h 445"/>
                <a:gd name="T86" fmla="*/ 117 w 142"/>
                <a:gd name="T87" fmla="*/ 339 h 445"/>
                <a:gd name="T88" fmla="*/ 130 w 142"/>
                <a:gd name="T89" fmla="*/ 308 h 445"/>
                <a:gd name="T90" fmla="*/ 138 w 142"/>
                <a:gd name="T91" fmla="*/ 275 h 445"/>
                <a:gd name="T92" fmla="*/ 142 w 142"/>
                <a:gd name="T93" fmla="*/ 23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" h="445">
                  <a:moveTo>
                    <a:pt x="142" y="222"/>
                  </a:moveTo>
                  <a:lnTo>
                    <a:pt x="142" y="204"/>
                  </a:lnTo>
                  <a:lnTo>
                    <a:pt x="140" y="187"/>
                  </a:lnTo>
                  <a:lnTo>
                    <a:pt x="138" y="170"/>
                  </a:lnTo>
                  <a:lnTo>
                    <a:pt x="134" y="153"/>
                  </a:lnTo>
                  <a:lnTo>
                    <a:pt x="130" y="137"/>
                  </a:lnTo>
                  <a:lnTo>
                    <a:pt x="124" y="121"/>
                  </a:lnTo>
                  <a:lnTo>
                    <a:pt x="117" y="106"/>
                  </a:lnTo>
                  <a:lnTo>
                    <a:pt x="109" y="91"/>
                  </a:lnTo>
                  <a:lnTo>
                    <a:pt x="102" y="77"/>
                  </a:lnTo>
                  <a:lnTo>
                    <a:pt x="92" y="63"/>
                  </a:lnTo>
                  <a:lnTo>
                    <a:pt x="82" y="51"/>
                  </a:lnTo>
                  <a:lnTo>
                    <a:pt x="72" y="39"/>
                  </a:lnTo>
                  <a:lnTo>
                    <a:pt x="60" y="28"/>
                  </a:lnTo>
                  <a:lnTo>
                    <a:pt x="48" y="18"/>
                  </a:lnTo>
                  <a:lnTo>
                    <a:pt x="35" y="9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3" y="5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5" y="27"/>
                  </a:lnTo>
                  <a:lnTo>
                    <a:pt x="8" y="28"/>
                  </a:lnTo>
                  <a:lnTo>
                    <a:pt x="19" y="35"/>
                  </a:lnTo>
                  <a:lnTo>
                    <a:pt x="30" y="43"/>
                  </a:lnTo>
                  <a:lnTo>
                    <a:pt x="41" y="51"/>
                  </a:lnTo>
                  <a:lnTo>
                    <a:pt x="51" y="61"/>
                  </a:lnTo>
                  <a:lnTo>
                    <a:pt x="60" y="70"/>
                  </a:lnTo>
                  <a:lnTo>
                    <a:pt x="69" y="82"/>
                  </a:lnTo>
                  <a:lnTo>
                    <a:pt x="77" y="94"/>
                  </a:lnTo>
                  <a:lnTo>
                    <a:pt x="85" y="106"/>
                  </a:lnTo>
                  <a:lnTo>
                    <a:pt x="91" y="119"/>
                  </a:lnTo>
                  <a:lnTo>
                    <a:pt x="96" y="133"/>
                  </a:lnTo>
                  <a:lnTo>
                    <a:pt x="102" y="146"/>
                  </a:lnTo>
                  <a:lnTo>
                    <a:pt x="105" y="161"/>
                  </a:lnTo>
                  <a:lnTo>
                    <a:pt x="108" y="175"/>
                  </a:lnTo>
                  <a:lnTo>
                    <a:pt x="111" y="191"/>
                  </a:lnTo>
                  <a:lnTo>
                    <a:pt x="112" y="206"/>
                  </a:lnTo>
                  <a:lnTo>
                    <a:pt x="112" y="222"/>
                  </a:lnTo>
                  <a:lnTo>
                    <a:pt x="112" y="237"/>
                  </a:lnTo>
                  <a:lnTo>
                    <a:pt x="111" y="253"/>
                  </a:lnTo>
                  <a:lnTo>
                    <a:pt x="108" y="268"/>
                  </a:lnTo>
                  <a:lnTo>
                    <a:pt x="105" y="283"/>
                  </a:lnTo>
                  <a:lnTo>
                    <a:pt x="102" y="297"/>
                  </a:lnTo>
                  <a:lnTo>
                    <a:pt x="96" y="311"/>
                  </a:lnTo>
                  <a:lnTo>
                    <a:pt x="91" y="325"/>
                  </a:lnTo>
                  <a:lnTo>
                    <a:pt x="85" y="338"/>
                  </a:lnTo>
                  <a:lnTo>
                    <a:pt x="77" y="351"/>
                  </a:lnTo>
                  <a:lnTo>
                    <a:pt x="69" y="363"/>
                  </a:lnTo>
                  <a:lnTo>
                    <a:pt x="60" y="373"/>
                  </a:lnTo>
                  <a:lnTo>
                    <a:pt x="51" y="384"/>
                  </a:lnTo>
                  <a:lnTo>
                    <a:pt x="41" y="394"/>
                  </a:lnTo>
                  <a:lnTo>
                    <a:pt x="30" y="402"/>
                  </a:lnTo>
                  <a:lnTo>
                    <a:pt x="19" y="410"/>
                  </a:lnTo>
                  <a:lnTo>
                    <a:pt x="8" y="416"/>
                  </a:lnTo>
                  <a:lnTo>
                    <a:pt x="5" y="418"/>
                  </a:lnTo>
                  <a:lnTo>
                    <a:pt x="3" y="420"/>
                  </a:lnTo>
                  <a:lnTo>
                    <a:pt x="1" y="422"/>
                  </a:lnTo>
                  <a:lnTo>
                    <a:pt x="0" y="426"/>
                  </a:lnTo>
                  <a:lnTo>
                    <a:pt x="0" y="428"/>
                  </a:lnTo>
                  <a:lnTo>
                    <a:pt x="0" y="431"/>
                  </a:lnTo>
                  <a:lnTo>
                    <a:pt x="0" y="434"/>
                  </a:lnTo>
                  <a:lnTo>
                    <a:pt x="1" y="436"/>
                  </a:lnTo>
                  <a:lnTo>
                    <a:pt x="3" y="440"/>
                  </a:lnTo>
                  <a:lnTo>
                    <a:pt x="7" y="443"/>
                  </a:lnTo>
                  <a:lnTo>
                    <a:pt x="11" y="444"/>
                  </a:lnTo>
                  <a:lnTo>
                    <a:pt x="15" y="445"/>
                  </a:lnTo>
                  <a:lnTo>
                    <a:pt x="18" y="444"/>
                  </a:lnTo>
                  <a:lnTo>
                    <a:pt x="21" y="443"/>
                  </a:lnTo>
                  <a:lnTo>
                    <a:pt x="35" y="435"/>
                  </a:lnTo>
                  <a:lnTo>
                    <a:pt x="48" y="426"/>
                  </a:lnTo>
                  <a:lnTo>
                    <a:pt x="60" y="416"/>
                  </a:lnTo>
                  <a:lnTo>
                    <a:pt x="72" y="405"/>
                  </a:lnTo>
                  <a:lnTo>
                    <a:pt x="82" y="394"/>
                  </a:lnTo>
                  <a:lnTo>
                    <a:pt x="92" y="381"/>
                  </a:lnTo>
                  <a:lnTo>
                    <a:pt x="102" y="368"/>
                  </a:lnTo>
                  <a:lnTo>
                    <a:pt x="109" y="354"/>
                  </a:lnTo>
                  <a:lnTo>
                    <a:pt x="117" y="339"/>
                  </a:lnTo>
                  <a:lnTo>
                    <a:pt x="124" y="323"/>
                  </a:lnTo>
                  <a:lnTo>
                    <a:pt x="130" y="308"/>
                  </a:lnTo>
                  <a:lnTo>
                    <a:pt x="134" y="291"/>
                  </a:lnTo>
                  <a:lnTo>
                    <a:pt x="138" y="275"/>
                  </a:lnTo>
                  <a:lnTo>
                    <a:pt x="140" y="258"/>
                  </a:lnTo>
                  <a:lnTo>
                    <a:pt x="142" y="239"/>
                  </a:lnTo>
                  <a:lnTo>
                    <a:pt x="142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5" name="Freeform 3250"/>
            <p:cNvSpPr/>
            <p:nvPr/>
          </p:nvSpPr>
          <p:spPr bwMode="auto">
            <a:xfrm>
              <a:off x="7807325" y="3725863"/>
              <a:ext cx="39688" cy="104775"/>
            </a:xfrm>
            <a:custGeom>
              <a:avLst/>
              <a:gdLst>
                <a:gd name="T0" fmla="*/ 123 w 124"/>
                <a:gd name="T1" fmla="*/ 150 h 331"/>
                <a:gd name="T2" fmla="*/ 120 w 124"/>
                <a:gd name="T3" fmla="*/ 123 h 331"/>
                <a:gd name="T4" fmla="*/ 113 w 124"/>
                <a:gd name="T5" fmla="*/ 97 h 331"/>
                <a:gd name="T6" fmla="*/ 102 w 124"/>
                <a:gd name="T7" fmla="*/ 72 h 331"/>
                <a:gd name="T8" fmla="*/ 88 w 124"/>
                <a:gd name="T9" fmla="*/ 51 h 331"/>
                <a:gd name="T10" fmla="*/ 72 w 124"/>
                <a:gd name="T11" fmla="*/ 33 h 331"/>
                <a:gd name="T12" fmla="*/ 53 w 124"/>
                <a:gd name="T13" fmla="*/ 17 h 331"/>
                <a:gd name="T14" fmla="*/ 31 w 124"/>
                <a:gd name="T15" fmla="*/ 5 h 331"/>
                <a:gd name="T16" fmla="*/ 16 w 124"/>
                <a:gd name="T17" fmla="*/ 0 h 331"/>
                <a:gd name="T18" fmla="*/ 11 w 124"/>
                <a:gd name="T19" fmla="*/ 0 h 331"/>
                <a:gd name="T20" fmla="*/ 6 w 124"/>
                <a:gd name="T21" fmla="*/ 3 h 331"/>
                <a:gd name="T22" fmla="*/ 3 w 124"/>
                <a:gd name="T23" fmla="*/ 7 h 331"/>
                <a:gd name="T24" fmla="*/ 0 w 124"/>
                <a:gd name="T25" fmla="*/ 12 h 331"/>
                <a:gd name="T26" fmla="*/ 0 w 124"/>
                <a:gd name="T27" fmla="*/ 18 h 331"/>
                <a:gd name="T28" fmla="*/ 3 w 124"/>
                <a:gd name="T29" fmla="*/ 23 h 331"/>
                <a:gd name="T30" fmla="*/ 8 w 124"/>
                <a:gd name="T31" fmla="*/ 27 h 331"/>
                <a:gd name="T32" fmla="*/ 20 w 124"/>
                <a:gd name="T33" fmla="*/ 32 h 331"/>
                <a:gd name="T34" fmla="*/ 37 w 124"/>
                <a:gd name="T35" fmla="*/ 42 h 331"/>
                <a:gd name="T36" fmla="*/ 52 w 124"/>
                <a:gd name="T37" fmla="*/ 55 h 331"/>
                <a:gd name="T38" fmla="*/ 66 w 124"/>
                <a:gd name="T39" fmla="*/ 70 h 331"/>
                <a:gd name="T40" fmla="*/ 76 w 124"/>
                <a:gd name="T41" fmla="*/ 88 h 331"/>
                <a:gd name="T42" fmla="*/ 85 w 124"/>
                <a:gd name="T43" fmla="*/ 109 h 331"/>
                <a:gd name="T44" fmla="*/ 91 w 124"/>
                <a:gd name="T45" fmla="*/ 130 h 331"/>
                <a:gd name="T46" fmla="*/ 93 w 124"/>
                <a:gd name="T47" fmla="*/ 154 h 331"/>
                <a:gd name="T48" fmla="*/ 93 w 124"/>
                <a:gd name="T49" fmla="*/ 177 h 331"/>
                <a:gd name="T50" fmla="*/ 91 w 124"/>
                <a:gd name="T51" fmla="*/ 201 h 331"/>
                <a:gd name="T52" fmla="*/ 85 w 124"/>
                <a:gd name="T53" fmla="*/ 222 h 331"/>
                <a:gd name="T54" fmla="*/ 76 w 124"/>
                <a:gd name="T55" fmla="*/ 242 h 331"/>
                <a:gd name="T56" fmla="*/ 66 w 124"/>
                <a:gd name="T57" fmla="*/ 260 h 331"/>
                <a:gd name="T58" fmla="*/ 52 w 124"/>
                <a:gd name="T59" fmla="*/ 276 h 331"/>
                <a:gd name="T60" fmla="*/ 37 w 124"/>
                <a:gd name="T61" fmla="*/ 288 h 331"/>
                <a:gd name="T62" fmla="*/ 20 w 124"/>
                <a:gd name="T63" fmla="*/ 298 h 331"/>
                <a:gd name="T64" fmla="*/ 8 w 124"/>
                <a:gd name="T65" fmla="*/ 303 h 331"/>
                <a:gd name="T66" fmla="*/ 3 w 124"/>
                <a:gd name="T67" fmla="*/ 307 h 331"/>
                <a:gd name="T68" fmla="*/ 0 w 124"/>
                <a:gd name="T69" fmla="*/ 312 h 331"/>
                <a:gd name="T70" fmla="*/ 0 w 124"/>
                <a:gd name="T71" fmla="*/ 318 h 331"/>
                <a:gd name="T72" fmla="*/ 3 w 124"/>
                <a:gd name="T73" fmla="*/ 325 h 331"/>
                <a:gd name="T74" fmla="*/ 10 w 124"/>
                <a:gd name="T75" fmla="*/ 330 h 331"/>
                <a:gd name="T76" fmla="*/ 17 w 124"/>
                <a:gd name="T77" fmla="*/ 331 h 331"/>
                <a:gd name="T78" fmla="*/ 31 w 124"/>
                <a:gd name="T79" fmla="*/ 326 h 331"/>
                <a:gd name="T80" fmla="*/ 53 w 124"/>
                <a:gd name="T81" fmla="*/ 314 h 331"/>
                <a:gd name="T82" fmla="*/ 72 w 124"/>
                <a:gd name="T83" fmla="*/ 298 h 331"/>
                <a:gd name="T84" fmla="*/ 88 w 124"/>
                <a:gd name="T85" fmla="*/ 279 h 331"/>
                <a:gd name="T86" fmla="*/ 102 w 124"/>
                <a:gd name="T87" fmla="*/ 257 h 331"/>
                <a:gd name="T88" fmla="*/ 113 w 124"/>
                <a:gd name="T89" fmla="*/ 234 h 331"/>
                <a:gd name="T90" fmla="*/ 120 w 124"/>
                <a:gd name="T91" fmla="*/ 207 h 331"/>
                <a:gd name="T92" fmla="*/ 123 w 124"/>
                <a:gd name="T93" fmla="*/ 17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4" h="331">
                  <a:moveTo>
                    <a:pt x="124" y="165"/>
                  </a:moveTo>
                  <a:lnTo>
                    <a:pt x="123" y="150"/>
                  </a:lnTo>
                  <a:lnTo>
                    <a:pt x="122" y="136"/>
                  </a:lnTo>
                  <a:lnTo>
                    <a:pt x="120" y="123"/>
                  </a:lnTo>
                  <a:lnTo>
                    <a:pt x="117" y="110"/>
                  </a:lnTo>
                  <a:lnTo>
                    <a:pt x="113" y="97"/>
                  </a:lnTo>
                  <a:lnTo>
                    <a:pt x="107" y="84"/>
                  </a:lnTo>
                  <a:lnTo>
                    <a:pt x="102" y="72"/>
                  </a:lnTo>
                  <a:lnTo>
                    <a:pt x="96" y="62"/>
                  </a:lnTo>
                  <a:lnTo>
                    <a:pt x="88" y="51"/>
                  </a:lnTo>
                  <a:lnTo>
                    <a:pt x="81" y="41"/>
                  </a:lnTo>
                  <a:lnTo>
                    <a:pt x="72" y="33"/>
                  </a:lnTo>
                  <a:lnTo>
                    <a:pt x="62" y="24"/>
                  </a:lnTo>
                  <a:lnTo>
                    <a:pt x="53" y="17"/>
                  </a:lnTo>
                  <a:lnTo>
                    <a:pt x="42" y="10"/>
                  </a:lnTo>
                  <a:lnTo>
                    <a:pt x="31" y="5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5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20" y="32"/>
                  </a:lnTo>
                  <a:lnTo>
                    <a:pt x="28" y="37"/>
                  </a:lnTo>
                  <a:lnTo>
                    <a:pt x="37" y="42"/>
                  </a:lnTo>
                  <a:lnTo>
                    <a:pt x="44" y="48"/>
                  </a:lnTo>
                  <a:lnTo>
                    <a:pt x="52" y="55"/>
                  </a:lnTo>
                  <a:lnTo>
                    <a:pt x="59" y="63"/>
                  </a:lnTo>
                  <a:lnTo>
                    <a:pt x="66" y="70"/>
                  </a:lnTo>
                  <a:lnTo>
                    <a:pt x="71" y="79"/>
                  </a:lnTo>
                  <a:lnTo>
                    <a:pt x="76" y="88"/>
                  </a:lnTo>
                  <a:lnTo>
                    <a:pt x="81" y="98"/>
                  </a:lnTo>
                  <a:lnTo>
                    <a:pt x="85" y="109"/>
                  </a:lnTo>
                  <a:lnTo>
                    <a:pt x="88" y="119"/>
                  </a:lnTo>
                  <a:lnTo>
                    <a:pt x="91" y="130"/>
                  </a:lnTo>
                  <a:lnTo>
                    <a:pt x="92" y="142"/>
                  </a:lnTo>
                  <a:lnTo>
                    <a:pt x="93" y="154"/>
                  </a:lnTo>
                  <a:lnTo>
                    <a:pt x="95" y="165"/>
                  </a:lnTo>
                  <a:lnTo>
                    <a:pt x="93" y="177"/>
                  </a:lnTo>
                  <a:lnTo>
                    <a:pt x="92" y="189"/>
                  </a:lnTo>
                  <a:lnTo>
                    <a:pt x="91" y="201"/>
                  </a:lnTo>
                  <a:lnTo>
                    <a:pt x="88" y="211"/>
                  </a:lnTo>
                  <a:lnTo>
                    <a:pt x="85" y="222"/>
                  </a:lnTo>
                  <a:lnTo>
                    <a:pt x="81" y="233"/>
                  </a:lnTo>
                  <a:lnTo>
                    <a:pt x="76" y="242"/>
                  </a:lnTo>
                  <a:lnTo>
                    <a:pt x="71" y="251"/>
                  </a:lnTo>
                  <a:lnTo>
                    <a:pt x="66" y="260"/>
                  </a:lnTo>
                  <a:lnTo>
                    <a:pt x="59" y="268"/>
                  </a:lnTo>
                  <a:lnTo>
                    <a:pt x="52" y="276"/>
                  </a:lnTo>
                  <a:lnTo>
                    <a:pt x="44" y="282"/>
                  </a:lnTo>
                  <a:lnTo>
                    <a:pt x="37" y="288"/>
                  </a:lnTo>
                  <a:lnTo>
                    <a:pt x="28" y="294"/>
                  </a:lnTo>
                  <a:lnTo>
                    <a:pt x="20" y="298"/>
                  </a:lnTo>
                  <a:lnTo>
                    <a:pt x="10" y="302"/>
                  </a:lnTo>
                  <a:lnTo>
                    <a:pt x="8" y="303"/>
                  </a:lnTo>
                  <a:lnTo>
                    <a:pt x="5" y="304"/>
                  </a:lnTo>
                  <a:lnTo>
                    <a:pt x="3" y="307"/>
                  </a:lnTo>
                  <a:lnTo>
                    <a:pt x="1" y="310"/>
                  </a:lnTo>
                  <a:lnTo>
                    <a:pt x="0" y="312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0" y="320"/>
                  </a:lnTo>
                  <a:lnTo>
                    <a:pt x="3" y="325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5" y="331"/>
                  </a:lnTo>
                  <a:lnTo>
                    <a:pt x="17" y="331"/>
                  </a:lnTo>
                  <a:lnTo>
                    <a:pt x="20" y="330"/>
                  </a:lnTo>
                  <a:lnTo>
                    <a:pt x="31" y="326"/>
                  </a:lnTo>
                  <a:lnTo>
                    <a:pt x="42" y="320"/>
                  </a:lnTo>
                  <a:lnTo>
                    <a:pt x="53" y="314"/>
                  </a:lnTo>
                  <a:lnTo>
                    <a:pt x="62" y="307"/>
                  </a:lnTo>
                  <a:lnTo>
                    <a:pt x="72" y="298"/>
                  </a:lnTo>
                  <a:lnTo>
                    <a:pt x="81" y="289"/>
                  </a:lnTo>
                  <a:lnTo>
                    <a:pt x="88" y="279"/>
                  </a:lnTo>
                  <a:lnTo>
                    <a:pt x="96" y="269"/>
                  </a:lnTo>
                  <a:lnTo>
                    <a:pt x="102" y="257"/>
                  </a:lnTo>
                  <a:lnTo>
                    <a:pt x="107" y="246"/>
                  </a:lnTo>
                  <a:lnTo>
                    <a:pt x="113" y="234"/>
                  </a:lnTo>
                  <a:lnTo>
                    <a:pt x="117" y="221"/>
                  </a:lnTo>
                  <a:lnTo>
                    <a:pt x="120" y="207"/>
                  </a:lnTo>
                  <a:lnTo>
                    <a:pt x="122" y="193"/>
                  </a:lnTo>
                  <a:lnTo>
                    <a:pt x="123" y="179"/>
                  </a:lnTo>
                  <a:lnTo>
                    <a:pt x="124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3251"/>
            <p:cNvSpPr/>
            <p:nvPr/>
          </p:nvSpPr>
          <p:spPr bwMode="auto">
            <a:xfrm>
              <a:off x="7610475" y="3671888"/>
              <a:ext cx="160338" cy="212725"/>
            </a:xfrm>
            <a:custGeom>
              <a:avLst/>
              <a:gdLst>
                <a:gd name="T0" fmla="*/ 470 w 508"/>
                <a:gd name="T1" fmla="*/ 1 h 671"/>
                <a:gd name="T2" fmla="*/ 423 w 508"/>
                <a:gd name="T3" fmla="*/ 9 h 671"/>
                <a:gd name="T4" fmla="*/ 378 w 508"/>
                <a:gd name="T5" fmla="*/ 23 h 671"/>
                <a:gd name="T6" fmla="*/ 335 w 508"/>
                <a:gd name="T7" fmla="*/ 43 h 671"/>
                <a:gd name="T8" fmla="*/ 293 w 508"/>
                <a:gd name="T9" fmla="*/ 69 h 671"/>
                <a:gd name="T10" fmla="*/ 255 w 508"/>
                <a:gd name="T11" fmla="*/ 99 h 671"/>
                <a:gd name="T12" fmla="*/ 222 w 508"/>
                <a:gd name="T13" fmla="*/ 134 h 671"/>
                <a:gd name="T14" fmla="*/ 195 w 508"/>
                <a:gd name="T15" fmla="*/ 173 h 671"/>
                <a:gd name="T16" fmla="*/ 104 w 508"/>
                <a:gd name="T17" fmla="*/ 193 h 671"/>
                <a:gd name="T18" fmla="*/ 82 w 508"/>
                <a:gd name="T19" fmla="*/ 195 h 671"/>
                <a:gd name="T20" fmla="*/ 62 w 508"/>
                <a:gd name="T21" fmla="*/ 204 h 671"/>
                <a:gd name="T22" fmla="*/ 44 w 508"/>
                <a:gd name="T23" fmla="*/ 215 h 671"/>
                <a:gd name="T24" fmla="*/ 29 w 508"/>
                <a:gd name="T25" fmla="*/ 230 h 671"/>
                <a:gd name="T26" fmla="*/ 16 w 508"/>
                <a:gd name="T27" fmla="*/ 250 h 671"/>
                <a:gd name="T28" fmla="*/ 7 w 508"/>
                <a:gd name="T29" fmla="*/ 269 h 671"/>
                <a:gd name="T30" fmla="*/ 2 w 508"/>
                <a:gd name="T31" fmla="*/ 290 h 671"/>
                <a:gd name="T32" fmla="*/ 0 w 508"/>
                <a:gd name="T33" fmla="*/ 313 h 671"/>
                <a:gd name="T34" fmla="*/ 0 w 508"/>
                <a:gd name="T35" fmla="*/ 394 h 671"/>
                <a:gd name="T36" fmla="*/ 4 w 508"/>
                <a:gd name="T37" fmla="*/ 415 h 671"/>
                <a:gd name="T38" fmla="*/ 12 w 508"/>
                <a:gd name="T39" fmla="*/ 435 h 671"/>
                <a:gd name="T40" fmla="*/ 24 w 508"/>
                <a:gd name="T41" fmla="*/ 452 h 671"/>
                <a:gd name="T42" fmla="*/ 39 w 508"/>
                <a:gd name="T43" fmla="*/ 467 h 671"/>
                <a:gd name="T44" fmla="*/ 56 w 508"/>
                <a:gd name="T45" fmla="*/ 479 h 671"/>
                <a:gd name="T46" fmla="*/ 77 w 508"/>
                <a:gd name="T47" fmla="*/ 487 h 671"/>
                <a:gd name="T48" fmla="*/ 98 w 508"/>
                <a:gd name="T49" fmla="*/ 491 h 671"/>
                <a:gd name="T50" fmla="*/ 185 w 508"/>
                <a:gd name="T51" fmla="*/ 491 h 671"/>
                <a:gd name="T52" fmla="*/ 207 w 508"/>
                <a:gd name="T53" fmla="*/ 530 h 671"/>
                <a:gd name="T54" fmla="*/ 237 w 508"/>
                <a:gd name="T55" fmla="*/ 564 h 671"/>
                <a:gd name="T56" fmla="*/ 271 w 508"/>
                <a:gd name="T57" fmla="*/ 594 h 671"/>
                <a:gd name="T58" fmla="*/ 310 w 508"/>
                <a:gd name="T59" fmla="*/ 621 h 671"/>
                <a:gd name="T60" fmla="*/ 353 w 508"/>
                <a:gd name="T61" fmla="*/ 642 h 671"/>
                <a:gd name="T62" fmla="*/ 398 w 508"/>
                <a:gd name="T63" fmla="*/ 658 h 671"/>
                <a:gd name="T64" fmla="*/ 445 w 508"/>
                <a:gd name="T65" fmla="*/ 668 h 671"/>
                <a:gd name="T66" fmla="*/ 493 w 508"/>
                <a:gd name="T67" fmla="*/ 671 h 671"/>
                <a:gd name="T68" fmla="*/ 499 w 508"/>
                <a:gd name="T69" fmla="*/ 670 h 671"/>
                <a:gd name="T70" fmla="*/ 504 w 508"/>
                <a:gd name="T71" fmla="*/ 667 h 671"/>
                <a:gd name="T72" fmla="*/ 507 w 508"/>
                <a:gd name="T73" fmla="*/ 663 h 671"/>
                <a:gd name="T74" fmla="*/ 508 w 508"/>
                <a:gd name="T75" fmla="*/ 656 h 671"/>
                <a:gd name="T76" fmla="*/ 508 w 508"/>
                <a:gd name="T77" fmla="*/ 12 h 671"/>
                <a:gd name="T78" fmla="*/ 506 w 508"/>
                <a:gd name="T79" fmla="*/ 7 h 671"/>
                <a:gd name="T80" fmla="*/ 501 w 508"/>
                <a:gd name="T81" fmla="*/ 3 h 671"/>
                <a:gd name="T82" fmla="*/ 496 w 508"/>
                <a:gd name="T83" fmla="*/ 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8" h="671">
                  <a:moveTo>
                    <a:pt x="493" y="0"/>
                  </a:moveTo>
                  <a:lnTo>
                    <a:pt x="470" y="1"/>
                  </a:lnTo>
                  <a:lnTo>
                    <a:pt x="447" y="4"/>
                  </a:lnTo>
                  <a:lnTo>
                    <a:pt x="423" y="9"/>
                  </a:lnTo>
                  <a:lnTo>
                    <a:pt x="401" y="14"/>
                  </a:lnTo>
                  <a:lnTo>
                    <a:pt x="378" y="23"/>
                  </a:lnTo>
                  <a:lnTo>
                    <a:pt x="356" y="33"/>
                  </a:lnTo>
                  <a:lnTo>
                    <a:pt x="335" y="43"/>
                  </a:lnTo>
                  <a:lnTo>
                    <a:pt x="313" y="55"/>
                  </a:lnTo>
                  <a:lnTo>
                    <a:pt x="293" y="69"/>
                  </a:lnTo>
                  <a:lnTo>
                    <a:pt x="274" y="84"/>
                  </a:lnTo>
                  <a:lnTo>
                    <a:pt x="255" y="99"/>
                  </a:lnTo>
                  <a:lnTo>
                    <a:pt x="238" y="116"/>
                  </a:lnTo>
                  <a:lnTo>
                    <a:pt x="222" y="134"/>
                  </a:lnTo>
                  <a:lnTo>
                    <a:pt x="208" y="152"/>
                  </a:lnTo>
                  <a:lnTo>
                    <a:pt x="195" y="173"/>
                  </a:lnTo>
                  <a:lnTo>
                    <a:pt x="185" y="193"/>
                  </a:lnTo>
                  <a:lnTo>
                    <a:pt x="104" y="193"/>
                  </a:lnTo>
                  <a:lnTo>
                    <a:pt x="93" y="193"/>
                  </a:lnTo>
                  <a:lnTo>
                    <a:pt x="82" y="195"/>
                  </a:lnTo>
                  <a:lnTo>
                    <a:pt x="71" y="199"/>
                  </a:lnTo>
                  <a:lnTo>
                    <a:pt x="62" y="204"/>
                  </a:lnTo>
                  <a:lnTo>
                    <a:pt x="52" y="209"/>
                  </a:lnTo>
                  <a:lnTo>
                    <a:pt x="44" y="215"/>
                  </a:lnTo>
                  <a:lnTo>
                    <a:pt x="36" y="223"/>
                  </a:lnTo>
                  <a:lnTo>
                    <a:pt x="29" y="230"/>
                  </a:lnTo>
                  <a:lnTo>
                    <a:pt x="22" y="240"/>
                  </a:lnTo>
                  <a:lnTo>
                    <a:pt x="16" y="250"/>
                  </a:lnTo>
                  <a:lnTo>
                    <a:pt x="11" y="259"/>
                  </a:lnTo>
                  <a:lnTo>
                    <a:pt x="7" y="269"/>
                  </a:lnTo>
                  <a:lnTo>
                    <a:pt x="4" y="280"/>
                  </a:lnTo>
                  <a:lnTo>
                    <a:pt x="2" y="290"/>
                  </a:lnTo>
                  <a:lnTo>
                    <a:pt x="0" y="302"/>
                  </a:lnTo>
                  <a:lnTo>
                    <a:pt x="0" y="313"/>
                  </a:lnTo>
                  <a:lnTo>
                    <a:pt x="0" y="382"/>
                  </a:lnTo>
                  <a:lnTo>
                    <a:pt x="0" y="394"/>
                  </a:lnTo>
                  <a:lnTo>
                    <a:pt x="2" y="405"/>
                  </a:lnTo>
                  <a:lnTo>
                    <a:pt x="4" y="415"/>
                  </a:lnTo>
                  <a:lnTo>
                    <a:pt x="8" y="425"/>
                  </a:lnTo>
                  <a:lnTo>
                    <a:pt x="12" y="435"/>
                  </a:lnTo>
                  <a:lnTo>
                    <a:pt x="18" y="443"/>
                  </a:lnTo>
                  <a:lnTo>
                    <a:pt x="24" y="452"/>
                  </a:lnTo>
                  <a:lnTo>
                    <a:pt x="32" y="459"/>
                  </a:lnTo>
                  <a:lnTo>
                    <a:pt x="39" y="467"/>
                  </a:lnTo>
                  <a:lnTo>
                    <a:pt x="48" y="473"/>
                  </a:lnTo>
                  <a:lnTo>
                    <a:pt x="56" y="479"/>
                  </a:lnTo>
                  <a:lnTo>
                    <a:pt x="66" y="483"/>
                  </a:lnTo>
                  <a:lnTo>
                    <a:pt x="77" y="487"/>
                  </a:lnTo>
                  <a:lnTo>
                    <a:pt x="86" y="489"/>
                  </a:lnTo>
                  <a:lnTo>
                    <a:pt x="98" y="491"/>
                  </a:lnTo>
                  <a:lnTo>
                    <a:pt x="109" y="491"/>
                  </a:lnTo>
                  <a:lnTo>
                    <a:pt x="185" y="491"/>
                  </a:lnTo>
                  <a:lnTo>
                    <a:pt x="195" y="511"/>
                  </a:lnTo>
                  <a:lnTo>
                    <a:pt x="207" y="530"/>
                  </a:lnTo>
                  <a:lnTo>
                    <a:pt x="221" y="547"/>
                  </a:lnTo>
                  <a:lnTo>
                    <a:pt x="237" y="564"/>
                  </a:lnTo>
                  <a:lnTo>
                    <a:pt x="253" y="580"/>
                  </a:lnTo>
                  <a:lnTo>
                    <a:pt x="271" y="594"/>
                  </a:lnTo>
                  <a:lnTo>
                    <a:pt x="291" y="608"/>
                  </a:lnTo>
                  <a:lnTo>
                    <a:pt x="310" y="621"/>
                  </a:lnTo>
                  <a:lnTo>
                    <a:pt x="331" y="633"/>
                  </a:lnTo>
                  <a:lnTo>
                    <a:pt x="353" y="642"/>
                  </a:lnTo>
                  <a:lnTo>
                    <a:pt x="375" y="651"/>
                  </a:lnTo>
                  <a:lnTo>
                    <a:pt x="398" y="658"/>
                  </a:lnTo>
                  <a:lnTo>
                    <a:pt x="421" y="664"/>
                  </a:lnTo>
                  <a:lnTo>
                    <a:pt x="445" y="668"/>
                  </a:lnTo>
                  <a:lnTo>
                    <a:pt x="469" y="670"/>
                  </a:lnTo>
                  <a:lnTo>
                    <a:pt x="493" y="671"/>
                  </a:lnTo>
                  <a:lnTo>
                    <a:pt x="496" y="671"/>
                  </a:lnTo>
                  <a:lnTo>
                    <a:pt x="499" y="670"/>
                  </a:lnTo>
                  <a:lnTo>
                    <a:pt x="501" y="669"/>
                  </a:lnTo>
                  <a:lnTo>
                    <a:pt x="504" y="667"/>
                  </a:lnTo>
                  <a:lnTo>
                    <a:pt x="506" y="665"/>
                  </a:lnTo>
                  <a:lnTo>
                    <a:pt x="507" y="663"/>
                  </a:lnTo>
                  <a:lnTo>
                    <a:pt x="508" y="659"/>
                  </a:lnTo>
                  <a:lnTo>
                    <a:pt x="508" y="656"/>
                  </a:lnTo>
                  <a:lnTo>
                    <a:pt x="508" y="15"/>
                  </a:lnTo>
                  <a:lnTo>
                    <a:pt x="508" y="12"/>
                  </a:lnTo>
                  <a:lnTo>
                    <a:pt x="507" y="9"/>
                  </a:lnTo>
                  <a:lnTo>
                    <a:pt x="506" y="7"/>
                  </a:lnTo>
                  <a:lnTo>
                    <a:pt x="504" y="5"/>
                  </a:lnTo>
                  <a:lnTo>
                    <a:pt x="501" y="3"/>
                  </a:lnTo>
                  <a:lnTo>
                    <a:pt x="499" y="1"/>
                  </a:lnTo>
                  <a:lnTo>
                    <a:pt x="496" y="0"/>
                  </a:lnTo>
                  <a:lnTo>
                    <a:pt x="4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8" name="Freeform 950"/>
          <p:cNvSpPr>
            <a:spLocks noEditPoints="1"/>
          </p:cNvSpPr>
          <p:nvPr/>
        </p:nvSpPr>
        <p:spPr bwMode="auto">
          <a:xfrm>
            <a:off x="10024269" y="2220122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mpetitive Advantages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2" name="Rectangle: Rounded Corners 1"/>
          <p:cNvSpPr/>
          <p:nvPr/>
        </p:nvSpPr>
        <p:spPr>
          <a:xfrm>
            <a:off x="5094514" y="1396999"/>
            <a:ext cx="6739300" cy="9128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+mj-lt"/>
              </a:rPr>
              <a:t>Competitive Advantages</a:t>
            </a:r>
            <a:endParaRPr lang="en-US" sz="2000" b="1" dirty="0">
              <a:latin typeface="+mj-lt"/>
            </a:endParaRPr>
          </a:p>
        </p:txBody>
      </p:sp>
      <p:sp>
        <p:nvSpPr>
          <p:cNvPr id="52" name="Rectangle: Rounded Corners 51"/>
          <p:cNvSpPr/>
          <p:nvPr/>
        </p:nvSpPr>
        <p:spPr>
          <a:xfrm>
            <a:off x="5094513" y="2540138"/>
            <a:ext cx="3281745" cy="6925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wer Cost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tangle: Rounded Corners 52"/>
          <p:cNvSpPr/>
          <p:nvPr/>
        </p:nvSpPr>
        <p:spPr>
          <a:xfrm>
            <a:off x="8552067" y="2540138"/>
            <a:ext cx="3281745" cy="6925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fferentiation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Rectangle: Rounded Corners 54"/>
          <p:cNvSpPr/>
          <p:nvPr/>
        </p:nvSpPr>
        <p:spPr>
          <a:xfrm>
            <a:off x="5094513" y="3462968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 Leadership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Rectangle: Rounded Corners 55"/>
          <p:cNvSpPr/>
          <p:nvPr/>
        </p:nvSpPr>
        <p:spPr>
          <a:xfrm>
            <a:off x="8552067" y="3462968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Differentiation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Rectangle: Rounded Corners 57"/>
          <p:cNvSpPr/>
          <p:nvPr/>
        </p:nvSpPr>
        <p:spPr>
          <a:xfrm>
            <a:off x="5094513" y="4744059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 Focu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Rectangle: Rounded Corners 58"/>
          <p:cNvSpPr/>
          <p:nvPr/>
        </p:nvSpPr>
        <p:spPr>
          <a:xfrm>
            <a:off x="8552067" y="4744059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fferentiation Focu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Rectangle: Rounded Corners 59"/>
          <p:cNvSpPr/>
          <p:nvPr/>
        </p:nvSpPr>
        <p:spPr>
          <a:xfrm>
            <a:off x="2975429" y="3462968"/>
            <a:ext cx="1943275" cy="105076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oad Targ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7" name="Rectangle: Rounded Corners 66"/>
          <p:cNvSpPr/>
          <p:nvPr/>
        </p:nvSpPr>
        <p:spPr>
          <a:xfrm>
            <a:off x="2975429" y="4744059"/>
            <a:ext cx="1943275" cy="105076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rrow Targ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9" name="Rectangle: Rounded Corners 68"/>
          <p:cNvSpPr/>
          <p:nvPr/>
        </p:nvSpPr>
        <p:spPr>
          <a:xfrm>
            <a:off x="358187" y="3462968"/>
            <a:ext cx="2441434" cy="23318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+mj-lt"/>
              </a:rPr>
              <a:t>Competitive Scope</a:t>
            </a:r>
            <a:endParaRPr lang="en-US" sz="2000" b="1" dirty="0">
              <a:latin typeface="+mj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0" y="2152514"/>
            <a:ext cx="12192000" cy="1047395"/>
            <a:chOff x="0" y="1904863"/>
            <a:chExt cx="12192000" cy="1047395"/>
          </a:xfrm>
        </p:grpSpPr>
        <p:cxnSp>
          <p:nvCxnSpPr>
            <p:cNvPr id="88" name="Straight Connector 87"/>
            <p:cNvCxnSpPr/>
            <p:nvPr/>
          </p:nvCxnSpPr>
          <p:spPr>
            <a:xfrm>
              <a:off x="0" y="1904863"/>
              <a:ext cx="12192000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0" y="2952258"/>
              <a:ext cx="12192000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0" y="2428561"/>
              <a:ext cx="12192000" cy="0"/>
            </a:xfrm>
            <a:prstGeom prst="line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34" name="Hexagon 33"/>
          <p:cNvSpPr/>
          <p:nvPr/>
        </p:nvSpPr>
        <p:spPr>
          <a:xfrm rot="5400000">
            <a:off x="469917" y="1579296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638867" y="3690807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28874" y="4104428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Hexagon 38"/>
          <p:cNvSpPr/>
          <p:nvPr/>
        </p:nvSpPr>
        <p:spPr>
          <a:xfrm rot="5400000">
            <a:off x="2806855" y="2131391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2975806" y="4242905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765812" y="4656524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Hexagon 54"/>
          <p:cNvSpPr/>
          <p:nvPr/>
        </p:nvSpPr>
        <p:spPr>
          <a:xfrm rot="5400000">
            <a:off x="5143792" y="1579296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5312743" y="3690807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102750" y="4104428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Hexagon 58"/>
          <p:cNvSpPr/>
          <p:nvPr/>
        </p:nvSpPr>
        <p:spPr>
          <a:xfrm rot="5400000">
            <a:off x="7484447" y="2131391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653397" y="4242905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439688" y="4656524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7" name="Hexagon 66"/>
          <p:cNvSpPr/>
          <p:nvPr/>
        </p:nvSpPr>
        <p:spPr>
          <a:xfrm rot="5400000">
            <a:off x="9825099" y="1579296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971170" y="3690807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9776625" y="4104428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34044" y="2061612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A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966157" y="2613704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B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303094" y="2061612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C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9977264" y="2061612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E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7651521" y="2613704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D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Resultados Finais</a:t>
            </a:r>
            <a:endParaRPr lang="en-US" alt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8" name="Group 77"/>
          <p:cNvGrpSpPr/>
          <p:nvPr/>
        </p:nvGrpSpPr>
        <p:grpSpPr>
          <a:xfrm>
            <a:off x="9063165" y="4105689"/>
            <a:ext cx="414970" cy="596104"/>
            <a:chOff x="10501313" y="2228850"/>
            <a:chExt cx="200025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04"/>
            <p:cNvSpPr/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05"/>
            <p:cNvSpPr/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06"/>
            <p:cNvSpPr/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14033" y="4107574"/>
            <a:ext cx="414636" cy="592334"/>
            <a:chOff x="11637963" y="1925320"/>
            <a:chExt cx="200025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4" name="Freeform 209"/>
            <p:cNvSpPr>
              <a:spLocks noEditPoints="1"/>
            </p:cNvSpPr>
            <p:nvPr/>
          </p:nvSpPr>
          <p:spPr bwMode="auto">
            <a:xfrm>
              <a:off x="11637963" y="1925320"/>
              <a:ext cx="200025" cy="285750"/>
            </a:xfrm>
            <a:custGeom>
              <a:avLst/>
              <a:gdLst>
                <a:gd name="T0" fmla="*/ 550 w 632"/>
                <a:gd name="T1" fmla="*/ 800 h 904"/>
                <a:gd name="T2" fmla="*/ 542 w 632"/>
                <a:gd name="T3" fmla="*/ 796 h 904"/>
                <a:gd name="T4" fmla="*/ 533 w 632"/>
                <a:gd name="T5" fmla="*/ 800 h 904"/>
                <a:gd name="T6" fmla="*/ 401 w 632"/>
                <a:gd name="T7" fmla="*/ 802 h 904"/>
                <a:gd name="T8" fmla="*/ 394 w 632"/>
                <a:gd name="T9" fmla="*/ 797 h 904"/>
                <a:gd name="T10" fmla="*/ 385 w 632"/>
                <a:gd name="T11" fmla="*/ 797 h 904"/>
                <a:gd name="T12" fmla="*/ 316 w 632"/>
                <a:gd name="T13" fmla="*/ 866 h 904"/>
                <a:gd name="T14" fmla="*/ 247 w 632"/>
                <a:gd name="T15" fmla="*/ 798 h 904"/>
                <a:gd name="T16" fmla="*/ 241 w 632"/>
                <a:gd name="T17" fmla="*/ 796 h 904"/>
                <a:gd name="T18" fmla="*/ 235 w 632"/>
                <a:gd name="T19" fmla="*/ 798 h 904"/>
                <a:gd name="T20" fmla="*/ 167 w 632"/>
                <a:gd name="T21" fmla="*/ 867 h 904"/>
                <a:gd name="T22" fmla="*/ 96 w 632"/>
                <a:gd name="T23" fmla="*/ 798 h 904"/>
                <a:gd name="T24" fmla="*/ 87 w 632"/>
                <a:gd name="T25" fmla="*/ 797 h 904"/>
                <a:gd name="T26" fmla="*/ 80 w 632"/>
                <a:gd name="T27" fmla="*/ 802 h 904"/>
                <a:gd name="T28" fmla="*/ 80 w 632"/>
                <a:gd name="T29" fmla="*/ 101 h 904"/>
                <a:gd name="T30" fmla="*/ 88 w 632"/>
                <a:gd name="T31" fmla="*/ 105 h 904"/>
                <a:gd name="T32" fmla="*/ 96 w 632"/>
                <a:gd name="T33" fmla="*/ 105 h 904"/>
                <a:gd name="T34" fmla="*/ 165 w 632"/>
                <a:gd name="T35" fmla="*/ 36 h 904"/>
                <a:gd name="T36" fmla="*/ 235 w 632"/>
                <a:gd name="T37" fmla="*/ 105 h 904"/>
                <a:gd name="T38" fmla="*/ 244 w 632"/>
                <a:gd name="T39" fmla="*/ 105 h 904"/>
                <a:gd name="T40" fmla="*/ 251 w 632"/>
                <a:gd name="T41" fmla="*/ 101 h 904"/>
                <a:gd name="T42" fmla="*/ 383 w 632"/>
                <a:gd name="T43" fmla="*/ 103 h 904"/>
                <a:gd name="T44" fmla="*/ 391 w 632"/>
                <a:gd name="T45" fmla="*/ 106 h 904"/>
                <a:gd name="T46" fmla="*/ 399 w 632"/>
                <a:gd name="T47" fmla="*/ 103 h 904"/>
                <a:gd name="T48" fmla="*/ 531 w 632"/>
                <a:gd name="T49" fmla="*/ 101 h 904"/>
                <a:gd name="T50" fmla="*/ 539 w 632"/>
                <a:gd name="T51" fmla="*/ 105 h 904"/>
                <a:gd name="T52" fmla="*/ 547 w 632"/>
                <a:gd name="T53" fmla="*/ 105 h 904"/>
                <a:gd name="T54" fmla="*/ 602 w 632"/>
                <a:gd name="T55" fmla="*/ 52 h 904"/>
                <a:gd name="T56" fmla="*/ 618 w 632"/>
                <a:gd name="T57" fmla="*/ 2 h 904"/>
                <a:gd name="T58" fmla="*/ 606 w 632"/>
                <a:gd name="T59" fmla="*/ 6 h 904"/>
                <a:gd name="T60" fmla="*/ 474 w 632"/>
                <a:gd name="T61" fmla="*/ 3 h 904"/>
                <a:gd name="T62" fmla="*/ 467 w 632"/>
                <a:gd name="T63" fmla="*/ 0 h 904"/>
                <a:gd name="T64" fmla="*/ 458 w 632"/>
                <a:gd name="T65" fmla="*/ 3 h 904"/>
                <a:gd name="T66" fmla="*/ 326 w 632"/>
                <a:gd name="T67" fmla="*/ 5 h 904"/>
                <a:gd name="T68" fmla="*/ 319 w 632"/>
                <a:gd name="T69" fmla="*/ 1 h 904"/>
                <a:gd name="T70" fmla="*/ 310 w 632"/>
                <a:gd name="T71" fmla="*/ 1 h 904"/>
                <a:gd name="T72" fmla="*/ 241 w 632"/>
                <a:gd name="T73" fmla="*/ 69 h 904"/>
                <a:gd name="T74" fmla="*/ 172 w 632"/>
                <a:gd name="T75" fmla="*/ 1 h 904"/>
                <a:gd name="T76" fmla="*/ 163 w 632"/>
                <a:gd name="T77" fmla="*/ 1 h 904"/>
                <a:gd name="T78" fmla="*/ 155 w 632"/>
                <a:gd name="T79" fmla="*/ 5 h 904"/>
                <a:gd name="T80" fmla="*/ 22 w 632"/>
                <a:gd name="T81" fmla="*/ 3 h 904"/>
                <a:gd name="T82" fmla="*/ 10 w 632"/>
                <a:gd name="T83" fmla="*/ 3 h 904"/>
                <a:gd name="T84" fmla="*/ 1 w 632"/>
                <a:gd name="T85" fmla="*/ 12 h 904"/>
                <a:gd name="T86" fmla="*/ 1 w 632"/>
                <a:gd name="T87" fmla="*/ 893 h 904"/>
                <a:gd name="T88" fmla="*/ 10 w 632"/>
                <a:gd name="T89" fmla="*/ 902 h 904"/>
                <a:gd name="T90" fmla="*/ 23 w 632"/>
                <a:gd name="T91" fmla="*/ 901 h 904"/>
                <a:gd name="T92" fmla="*/ 157 w 632"/>
                <a:gd name="T93" fmla="*/ 899 h 904"/>
                <a:gd name="T94" fmla="*/ 164 w 632"/>
                <a:gd name="T95" fmla="*/ 904 h 904"/>
                <a:gd name="T96" fmla="*/ 173 w 632"/>
                <a:gd name="T97" fmla="*/ 902 h 904"/>
                <a:gd name="T98" fmla="*/ 241 w 632"/>
                <a:gd name="T99" fmla="*/ 833 h 904"/>
                <a:gd name="T100" fmla="*/ 310 w 632"/>
                <a:gd name="T101" fmla="*/ 901 h 904"/>
                <a:gd name="T102" fmla="*/ 319 w 632"/>
                <a:gd name="T103" fmla="*/ 901 h 904"/>
                <a:gd name="T104" fmla="*/ 326 w 632"/>
                <a:gd name="T105" fmla="*/ 898 h 904"/>
                <a:gd name="T106" fmla="*/ 458 w 632"/>
                <a:gd name="T107" fmla="*/ 899 h 904"/>
                <a:gd name="T108" fmla="*/ 467 w 632"/>
                <a:gd name="T109" fmla="*/ 902 h 904"/>
                <a:gd name="T110" fmla="*/ 474 w 632"/>
                <a:gd name="T111" fmla="*/ 899 h 904"/>
                <a:gd name="T112" fmla="*/ 606 w 632"/>
                <a:gd name="T113" fmla="*/ 899 h 904"/>
                <a:gd name="T114" fmla="*/ 614 w 632"/>
                <a:gd name="T115" fmla="*/ 904 h 904"/>
                <a:gd name="T116" fmla="*/ 622 w 632"/>
                <a:gd name="T117" fmla="*/ 902 h 904"/>
                <a:gd name="T118" fmla="*/ 631 w 632"/>
                <a:gd name="T119" fmla="*/ 893 h 904"/>
                <a:gd name="T120" fmla="*/ 631 w 632"/>
                <a:gd name="T121" fmla="*/ 12 h 904"/>
                <a:gd name="T122" fmla="*/ 622 w 632"/>
                <a:gd name="T123" fmla="*/ 3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904">
                  <a:moveTo>
                    <a:pt x="602" y="851"/>
                  </a:moveTo>
                  <a:lnTo>
                    <a:pt x="553" y="802"/>
                  </a:lnTo>
                  <a:lnTo>
                    <a:pt x="550" y="800"/>
                  </a:lnTo>
                  <a:lnTo>
                    <a:pt x="547" y="798"/>
                  </a:lnTo>
                  <a:lnTo>
                    <a:pt x="544" y="797"/>
                  </a:lnTo>
                  <a:lnTo>
                    <a:pt x="542" y="796"/>
                  </a:lnTo>
                  <a:lnTo>
                    <a:pt x="539" y="797"/>
                  </a:lnTo>
                  <a:lnTo>
                    <a:pt x="535" y="797"/>
                  </a:lnTo>
                  <a:lnTo>
                    <a:pt x="533" y="800"/>
                  </a:lnTo>
                  <a:lnTo>
                    <a:pt x="531" y="802"/>
                  </a:lnTo>
                  <a:lnTo>
                    <a:pt x="467" y="866"/>
                  </a:lnTo>
                  <a:lnTo>
                    <a:pt x="401" y="802"/>
                  </a:lnTo>
                  <a:lnTo>
                    <a:pt x="399" y="800"/>
                  </a:lnTo>
                  <a:lnTo>
                    <a:pt x="397" y="797"/>
                  </a:lnTo>
                  <a:lnTo>
                    <a:pt x="394" y="797"/>
                  </a:lnTo>
                  <a:lnTo>
                    <a:pt x="391" y="796"/>
                  </a:lnTo>
                  <a:lnTo>
                    <a:pt x="389" y="797"/>
                  </a:lnTo>
                  <a:lnTo>
                    <a:pt x="385" y="797"/>
                  </a:lnTo>
                  <a:lnTo>
                    <a:pt x="383" y="800"/>
                  </a:lnTo>
                  <a:lnTo>
                    <a:pt x="381" y="802"/>
                  </a:lnTo>
                  <a:lnTo>
                    <a:pt x="316" y="866"/>
                  </a:lnTo>
                  <a:lnTo>
                    <a:pt x="251" y="802"/>
                  </a:lnTo>
                  <a:lnTo>
                    <a:pt x="249" y="800"/>
                  </a:lnTo>
                  <a:lnTo>
                    <a:pt x="247" y="798"/>
                  </a:lnTo>
                  <a:lnTo>
                    <a:pt x="244" y="797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37" y="797"/>
                  </a:lnTo>
                  <a:lnTo>
                    <a:pt x="235" y="798"/>
                  </a:lnTo>
                  <a:lnTo>
                    <a:pt x="232" y="800"/>
                  </a:lnTo>
                  <a:lnTo>
                    <a:pt x="230" y="802"/>
                  </a:lnTo>
                  <a:lnTo>
                    <a:pt x="167" y="867"/>
                  </a:lnTo>
                  <a:lnTo>
                    <a:pt x="101" y="802"/>
                  </a:lnTo>
                  <a:lnTo>
                    <a:pt x="99" y="800"/>
                  </a:lnTo>
                  <a:lnTo>
                    <a:pt x="96" y="798"/>
                  </a:lnTo>
                  <a:lnTo>
                    <a:pt x="94" y="797"/>
                  </a:lnTo>
                  <a:lnTo>
                    <a:pt x="90" y="796"/>
                  </a:lnTo>
                  <a:lnTo>
                    <a:pt x="87" y="797"/>
                  </a:lnTo>
                  <a:lnTo>
                    <a:pt x="84" y="798"/>
                  </a:lnTo>
                  <a:lnTo>
                    <a:pt x="82" y="800"/>
                  </a:lnTo>
                  <a:lnTo>
                    <a:pt x="80" y="802"/>
                  </a:lnTo>
                  <a:lnTo>
                    <a:pt x="30" y="851"/>
                  </a:lnTo>
                  <a:lnTo>
                    <a:pt x="30" y="52"/>
                  </a:lnTo>
                  <a:lnTo>
                    <a:pt x="80" y="101"/>
                  </a:lnTo>
                  <a:lnTo>
                    <a:pt x="82" y="103"/>
                  </a:lnTo>
                  <a:lnTo>
                    <a:pt x="85" y="105"/>
                  </a:lnTo>
                  <a:lnTo>
                    <a:pt x="88" y="105"/>
                  </a:lnTo>
                  <a:lnTo>
                    <a:pt x="90" y="106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65" y="36"/>
                  </a:lnTo>
                  <a:lnTo>
                    <a:pt x="230" y="101"/>
                  </a:lnTo>
                  <a:lnTo>
                    <a:pt x="233" y="103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41" y="106"/>
                  </a:lnTo>
                  <a:lnTo>
                    <a:pt x="244" y="105"/>
                  </a:lnTo>
                  <a:lnTo>
                    <a:pt x="247" y="105"/>
                  </a:lnTo>
                  <a:lnTo>
                    <a:pt x="249" y="103"/>
                  </a:lnTo>
                  <a:lnTo>
                    <a:pt x="251" y="101"/>
                  </a:lnTo>
                  <a:lnTo>
                    <a:pt x="316" y="36"/>
                  </a:lnTo>
                  <a:lnTo>
                    <a:pt x="381" y="101"/>
                  </a:lnTo>
                  <a:lnTo>
                    <a:pt x="383" y="103"/>
                  </a:lnTo>
                  <a:lnTo>
                    <a:pt x="385" y="105"/>
                  </a:lnTo>
                  <a:lnTo>
                    <a:pt x="389" y="105"/>
                  </a:lnTo>
                  <a:lnTo>
                    <a:pt x="391" y="106"/>
                  </a:lnTo>
                  <a:lnTo>
                    <a:pt x="394" y="105"/>
                  </a:lnTo>
                  <a:lnTo>
                    <a:pt x="397" y="105"/>
                  </a:lnTo>
                  <a:lnTo>
                    <a:pt x="399" y="103"/>
                  </a:lnTo>
                  <a:lnTo>
                    <a:pt x="401" y="101"/>
                  </a:lnTo>
                  <a:lnTo>
                    <a:pt x="467" y="36"/>
                  </a:lnTo>
                  <a:lnTo>
                    <a:pt x="531" y="101"/>
                  </a:lnTo>
                  <a:lnTo>
                    <a:pt x="533" y="103"/>
                  </a:lnTo>
                  <a:lnTo>
                    <a:pt x="535" y="105"/>
                  </a:lnTo>
                  <a:lnTo>
                    <a:pt x="539" y="105"/>
                  </a:lnTo>
                  <a:lnTo>
                    <a:pt x="542" y="106"/>
                  </a:lnTo>
                  <a:lnTo>
                    <a:pt x="544" y="105"/>
                  </a:lnTo>
                  <a:lnTo>
                    <a:pt x="547" y="105"/>
                  </a:lnTo>
                  <a:lnTo>
                    <a:pt x="549" y="103"/>
                  </a:lnTo>
                  <a:lnTo>
                    <a:pt x="551" y="101"/>
                  </a:lnTo>
                  <a:lnTo>
                    <a:pt x="602" y="52"/>
                  </a:lnTo>
                  <a:lnTo>
                    <a:pt x="602" y="851"/>
                  </a:lnTo>
                  <a:close/>
                  <a:moveTo>
                    <a:pt x="622" y="3"/>
                  </a:moveTo>
                  <a:lnTo>
                    <a:pt x="618" y="2"/>
                  </a:lnTo>
                  <a:lnTo>
                    <a:pt x="614" y="2"/>
                  </a:lnTo>
                  <a:lnTo>
                    <a:pt x="609" y="3"/>
                  </a:lnTo>
                  <a:lnTo>
                    <a:pt x="606" y="6"/>
                  </a:lnTo>
                  <a:lnTo>
                    <a:pt x="542" y="69"/>
                  </a:lnTo>
                  <a:lnTo>
                    <a:pt x="477" y="5"/>
                  </a:lnTo>
                  <a:lnTo>
                    <a:pt x="474" y="3"/>
                  </a:lnTo>
                  <a:lnTo>
                    <a:pt x="472" y="1"/>
                  </a:lnTo>
                  <a:lnTo>
                    <a:pt x="469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60" y="1"/>
                  </a:lnTo>
                  <a:lnTo>
                    <a:pt x="458" y="3"/>
                  </a:lnTo>
                  <a:lnTo>
                    <a:pt x="456" y="5"/>
                  </a:lnTo>
                  <a:lnTo>
                    <a:pt x="391" y="69"/>
                  </a:lnTo>
                  <a:lnTo>
                    <a:pt x="326" y="5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08" y="3"/>
                  </a:lnTo>
                  <a:lnTo>
                    <a:pt x="305" y="5"/>
                  </a:lnTo>
                  <a:lnTo>
                    <a:pt x="241" y="69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5" y="0"/>
                  </a:lnTo>
                  <a:lnTo>
                    <a:pt x="163" y="1"/>
                  </a:lnTo>
                  <a:lnTo>
                    <a:pt x="160" y="1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90" y="69"/>
                  </a:lnTo>
                  <a:lnTo>
                    <a:pt x="26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2"/>
                  </a:lnTo>
                  <a:lnTo>
                    <a:pt x="0" y="17"/>
                  </a:lnTo>
                  <a:lnTo>
                    <a:pt x="0" y="889"/>
                  </a:lnTo>
                  <a:lnTo>
                    <a:pt x="1" y="893"/>
                  </a:lnTo>
                  <a:lnTo>
                    <a:pt x="3" y="897"/>
                  </a:lnTo>
                  <a:lnTo>
                    <a:pt x="6" y="900"/>
                  </a:lnTo>
                  <a:lnTo>
                    <a:pt x="10" y="902"/>
                  </a:lnTo>
                  <a:lnTo>
                    <a:pt x="14" y="904"/>
                  </a:lnTo>
                  <a:lnTo>
                    <a:pt x="19" y="904"/>
                  </a:lnTo>
                  <a:lnTo>
                    <a:pt x="23" y="901"/>
                  </a:lnTo>
                  <a:lnTo>
                    <a:pt x="26" y="899"/>
                  </a:lnTo>
                  <a:lnTo>
                    <a:pt x="90" y="833"/>
                  </a:lnTo>
                  <a:lnTo>
                    <a:pt x="157" y="899"/>
                  </a:lnTo>
                  <a:lnTo>
                    <a:pt x="159" y="900"/>
                  </a:lnTo>
                  <a:lnTo>
                    <a:pt x="161" y="902"/>
                  </a:lnTo>
                  <a:lnTo>
                    <a:pt x="164" y="904"/>
                  </a:lnTo>
                  <a:lnTo>
                    <a:pt x="168" y="904"/>
                  </a:lnTo>
                  <a:lnTo>
                    <a:pt x="170" y="904"/>
                  </a:lnTo>
                  <a:lnTo>
                    <a:pt x="173" y="902"/>
                  </a:lnTo>
                  <a:lnTo>
                    <a:pt x="175" y="900"/>
                  </a:lnTo>
                  <a:lnTo>
                    <a:pt x="178" y="899"/>
                  </a:lnTo>
                  <a:lnTo>
                    <a:pt x="241" y="833"/>
                  </a:lnTo>
                  <a:lnTo>
                    <a:pt x="305" y="898"/>
                  </a:lnTo>
                  <a:lnTo>
                    <a:pt x="308" y="899"/>
                  </a:lnTo>
                  <a:lnTo>
                    <a:pt x="310" y="901"/>
                  </a:lnTo>
                  <a:lnTo>
                    <a:pt x="313" y="901"/>
                  </a:lnTo>
                  <a:lnTo>
                    <a:pt x="316" y="902"/>
                  </a:lnTo>
                  <a:lnTo>
                    <a:pt x="319" y="901"/>
                  </a:lnTo>
                  <a:lnTo>
                    <a:pt x="322" y="901"/>
                  </a:lnTo>
                  <a:lnTo>
                    <a:pt x="324" y="899"/>
                  </a:lnTo>
                  <a:lnTo>
                    <a:pt x="326" y="898"/>
                  </a:lnTo>
                  <a:lnTo>
                    <a:pt x="391" y="833"/>
                  </a:lnTo>
                  <a:lnTo>
                    <a:pt x="456" y="898"/>
                  </a:lnTo>
                  <a:lnTo>
                    <a:pt x="458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7" y="902"/>
                  </a:lnTo>
                  <a:lnTo>
                    <a:pt x="469" y="901"/>
                  </a:lnTo>
                  <a:lnTo>
                    <a:pt x="472" y="901"/>
                  </a:lnTo>
                  <a:lnTo>
                    <a:pt x="474" y="899"/>
                  </a:lnTo>
                  <a:lnTo>
                    <a:pt x="477" y="898"/>
                  </a:lnTo>
                  <a:lnTo>
                    <a:pt x="542" y="833"/>
                  </a:lnTo>
                  <a:lnTo>
                    <a:pt x="606" y="899"/>
                  </a:lnTo>
                  <a:lnTo>
                    <a:pt x="608" y="900"/>
                  </a:lnTo>
                  <a:lnTo>
                    <a:pt x="610" y="902"/>
                  </a:lnTo>
                  <a:lnTo>
                    <a:pt x="614" y="904"/>
                  </a:lnTo>
                  <a:lnTo>
                    <a:pt x="617" y="904"/>
                  </a:lnTo>
                  <a:lnTo>
                    <a:pt x="620" y="904"/>
                  </a:lnTo>
                  <a:lnTo>
                    <a:pt x="622" y="902"/>
                  </a:lnTo>
                  <a:lnTo>
                    <a:pt x="627" y="900"/>
                  </a:lnTo>
                  <a:lnTo>
                    <a:pt x="629" y="897"/>
                  </a:lnTo>
                  <a:lnTo>
                    <a:pt x="631" y="893"/>
                  </a:lnTo>
                  <a:lnTo>
                    <a:pt x="632" y="889"/>
                  </a:lnTo>
                  <a:lnTo>
                    <a:pt x="632" y="17"/>
                  </a:lnTo>
                  <a:lnTo>
                    <a:pt x="631" y="12"/>
                  </a:lnTo>
                  <a:lnTo>
                    <a:pt x="629" y="8"/>
                  </a:lnTo>
                  <a:lnTo>
                    <a:pt x="627" y="5"/>
                  </a:lnTo>
                  <a:lnTo>
                    <a:pt x="6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10"/>
            <p:cNvSpPr/>
            <p:nvPr/>
          </p:nvSpPr>
          <p:spPr bwMode="auto">
            <a:xfrm>
              <a:off x="11672888" y="1991995"/>
              <a:ext cx="106363" cy="9525"/>
            </a:xfrm>
            <a:custGeom>
              <a:avLst/>
              <a:gdLst>
                <a:gd name="T0" fmla="*/ 333 w 333"/>
                <a:gd name="T1" fmla="*/ 15 h 30"/>
                <a:gd name="T2" fmla="*/ 333 w 333"/>
                <a:gd name="T3" fmla="*/ 12 h 30"/>
                <a:gd name="T4" fmla="*/ 332 w 333"/>
                <a:gd name="T5" fmla="*/ 8 h 30"/>
                <a:gd name="T6" fmla="*/ 331 w 333"/>
                <a:gd name="T7" fmla="*/ 6 h 30"/>
                <a:gd name="T8" fmla="*/ 329 w 333"/>
                <a:gd name="T9" fmla="*/ 4 h 30"/>
                <a:gd name="T10" fmla="*/ 327 w 333"/>
                <a:gd name="T11" fmla="*/ 2 h 30"/>
                <a:gd name="T12" fmla="*/ 324 w 333"/>
                <a:gd name="T13" fmla="*/ 1 h 30"/>
                <a:gd name="T14" fmla="*/ 322 w 333"/>
                <a:gd name="T15" fmla="*/ 0 h 30"/>
                <a:gd name="T16" fmla="*/ 318 w 333"/>
                <a:gd name="T17" fmla="*/ 0 h 30"/>
                <a:gd name="T18" fmla="*/ 15 w 333"/>
                <a:gd name="T19" fmla="*/ 0 h 30"/>
                <a:gd name="T20" fmla="*/ 12 w 333"/>
                <a:gd name="T21" fmla="*/ 0 h 30"/>
                <a:gd name="T22" fmla="*/ 10 w 333"/>
                <a:gd name="T23" fmla="*/ 1 h 30"/>
                <a:gd name="T24" fmla="*/ 6 w 333"/>
                <a:gd name="T25" fmla="*/ 2 h 30"/>
                <a:gd name="T26" fmla="*/ 4 w 333"/>
                <a:gd name="T27" fmla="*/ 4 h 30"/>
                <a:gd name="T28" fmla="*/ 2 w 333"/>
                <a:gd name="T29" fmla="*/ 6 h 30"/>
                <a:gd name="T30" fmla="*/ 1 w 333"/>
                <a:gd name="T31" fmla="*/ 8 h 30"/>
                <a:gd name="T32" fmla="*/ 0 w 333"/>
                <a:gd name="T33" fmla="*/ 12 h 30"/>
                <a:gd name="T34" fmla="*/ 0 w 333"/>
                <a:gd name="T35" fmla="*/ 15 h 30"/>
                <a:gd name="T36" fmla="*/ 0 w 333"/>
                <a:gd name="T37" fmla="*/ 18 h 30"/>
                <a:gd name="T38" fmla="*/ 1 w 333"/>
                <a:gd name="T39" fmla="*/ 20 h 30"/>
                <a:gd name="T40" fmla="*/ 2 w 333"/>
                <a:gd name="T41" fmla="*/ 23 h 30"/>
                <a:gd name="T42" fmla="*/ 4 w 333"/>
                <a:gd name="T43" fmla="*/ 26 h 30"/>
                <a:gd name="T44" fmla="*/ 6 w 333"/>
                <a:gd name="T45" fmla="*/ 27 h 30"/>
                <a:gd name="T46" fmla="*/ 10 w 333"/>
                <a:gd name="T47" fmla="*/ 29 h 30"/>
                <a:gd name="T48" fmla="*/ 12 w 333"/>
                <a:gd name="T49" fmla="*/ 29 h 30"/>
                <a:gd name="T50" fmla="*/ 15 w 333"/>
                <a:gd name="T51" fmla="*/ 30 h 30"/>
                <a:gd name="T52" fmla="*/ 318 w 333"/>
                <a:gd name="T53" fmla="*/ 30 h 30"/>
                <a:gd name="T54" fmla="*/ 322 w 333"/>
                <a:gd name="T55" fmla="*/ 29 h 30"/>
                <a:gd name="T56" fmla="*/ 324 w 333"/>
                <a:gd name="T57" fmla="*/ 29 h 30"/>
                <a:gd name="T58" fmla="*/ 327 w 333"/>
                <a:gd name="T59" fmla="*/ 27 h 30"/>
                <a:gd name="T60" fmla="*/ 329 w 333"/>
                <a:gd name="T61" fmla="*/ 26 h 30"/>
                <a:gd name="T62" fmla="*/ 331 w 333"/>
                <a:gd name="T63" fmla="*/ 23 h 30"/>
                <a:gd name="T64" fmla="*/ 332 w 333"/>
                <a:gd name="T65" fmla="*/ 20 h 30"/>
                <a:gd name="T66" fmla="*/ 333 w 333"/>
                <a:gd name="T67" fmla="*/ 18 h 30"/>
                <a:gd name="T68" fmla="*/ 333 w 333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3" h="30">
                  <a:moveTo>
                    <a:pt x="333" y="15"/>
                  </a:moveTo>
                  <a:lnTo>
                    <a:pt x="333" y="12"/>
                  </a:lnTo>
                  <a:lnTo>
                    <a:pt x="332" y="8"/>
                  </a:lnTo>
                  <a:lnTo>
                    <a:pt x="331" y="6"/>
                  </a:lnTo>
                  <a:lnTo>
                    <a:pt x="329" y="4"/>
                  </a:lnTo>
                  <a:lnTo>
                    <a:pt x="327" y="2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18" y="30"/>
                  </a:lnTo>
                  <a:lnTo>
                    <a:pt x="322" y="29"/>
                  </a:lnTo>
                  <a:lnTo>
                    <a:pt x="324" y="29"/>
                  </a:lnTo>
                  <a:lnTo>
                    <a:pt x="327" y="27"/>
                  </a:lnTo>
                  <a:lnTo>
                    <a:pt x="329" y="26"/>
                  </a:lnTo>
                  <a:lnTo>
                    <a:pt x="331" y="23"/>
                  </a:lnTo>
                  <a:lnTo>
                    <a:pt x="332" y="20"/>
                  </a:lnTo>
                  <a:lnTo>
                    <a:pt x="333" y="18"/>
                  </a:lnTo>
                  <a:lnTo>
                    <a:pt x="33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11"/>
            <p:cNvSpPr/>
            <p:nvPr/>
          </p:nvSpPr>
          <p:spPr bwMode="auto">
            <a:xfrm>
              <a:off x="11672888" y="20300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9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0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9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212"/>
            <p:cNvSpPr/>
            <p:nvPr/>
          </p:nvSpPr>
          <p:spPr bwMode="auto">
            <a:xfrm>
              <a:off x="11672888" y="20681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10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1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10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10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13"/>
            <p:cNvSpPr/>
            <p:nvPr/>
          </p:nvSpPr>
          <p:spPr bwMode="auto">
            <a:xfrm>
              <a:off x="11672888" y="2106295"/>
              <a:ext cx="46038" cy="9525"/>
            </a:xfrm>
            <a:custGeom>
              <a:avLst/>
              <a:gdLst>
                <a:gd name="T0" fmla="*/ 129 w 144"/>
                <a:gd name="T1" fmla="*/ 0 h 30"/>
                <a:gd name="T2" fmla="*/ 15 w 144"/>
                <a:gd name="T3" fmla="*/ 0 h 30"/>
                <a:gd name="T4" fmla="*/ 12 w 144"/>
                <a:gd name="T5" fmla="*/ 0 h 30"/>
                <a:gd name="T6" fmla="*/ 10 w 144"/>
                <a:gd name="T7" fmla="*/ 1 h 30"/>
                <a:gd name="T8" fmla="*/ 6 w 144"/>
                <a:gd name="T9" fmla="*/ 3 h 30"/>
                <a:gd name="T10" fmla="*/ 4 w 144"/>
                <a:gd name="T11" fmla="*/ 4 h 30"/>
                <a:gd name="T12" fmla="*/ 2 w 144"/>
                <a:gd name="T13" fmla="*/ 7 h 30"/>
                <a:gd name="T14" fmla="*/ 1 w 144"/>
                <a:gd name="T15" fmla="*/ 10 h 30"/>
                <a:gd name="T16" fmla="*/ 0 w 144"/>
                <a:gd name="T17" fmla="*/ 12 h 30"/>
                <a:gd name="T18" fmla="*/ 0 w 144"/>
                <a:gd name="T19" fmla="*/ 15 h 30"/>
                <a:gd name="T20" fmla="*/ 0 w 144"/>
                <a:gd name="T21" fmla="*/ 18 h 30"/>
                <a:gd name="T22" fmla="*/ 1 w 144"/>
                <a:gd name="T23" fmla="*/ 22 h 30"/>
                <a:gd name="T24" fmla="*/ 2 w 144"/>
                <a:gd name="T25" fmla="*/ 24 h 30"/>
                <a:gd name="T26" fmla="*/ 4 w 144"/>
                <a:gd name="T27" fmla="*/ 26 h 30"/>
                <a:gd name="T28" fmla="*/ 6 w 144"/>
                <a:gd name="T29" fmla="*/ 28 h 30"/>
                <a:gd name="T30" fmla="*/ 10 w 144"/>
                <a:gd name="T31" fmla="*/ 29 h 30"/>
                <a:gd name="T32" fmla="*/ 12 w 144"/>
                <a:gd name="T33" fmla="*/ 30 h 30"/>
                <a:gd name="T34" fmla="*/ 15 w 144"/>
                <a:gd name="T35" fmla="*/ 30 h 30"/>
                <a:gd name="T36" fmla="*/ 129 w 144"/>
                <a:gd name="T37" fmla="*/ 30 h 30"/>
                <a:gd name="T38" fmla="*/ 132 w 144"/>
                <a:gd name="T39" fmla="*/ 30 h 30"/>
                <a:gd name="T40" fmla="*/ 135 w 144"/>
                <a:gd name="T41" fmla="*/ 29 h 30"/>
                <a:gd name="T42" fmla="*/ 137 w 144"/>
                <a:gd name="T43" fmla="*/ 28 h 30"/>
                <a:gd name="T44" fmla="*/ 139 w 144"/>
                <a:gd name="T45" fmla="*/ 26 h 30"/>
                <a:gd name="T46" fmla="*/ 142 w 144"/>
                <a:gd name="T47" fmla="*/ 24 h 30"/>
                <a:gd name="T48" fmla="*/ 143 w 144"/>
                <a:gd name="T49" fmla="*/ 22 h 30"/>
                <a:gd name="T50" fmla="*/ 144 w 144"/>
                <a:gd name="T51" fmla="*/ 18 h 30"/>
                <a:gd name="T52" fmla="*/ 144 w 144"/>
                <a:gd name="T53" fmla="*/ 15 h 30"/>
                <a:gd name="T54" fmla="*/ 144 w 144"/>
                <a:gd name="T55" fmla="*/ 12 h 30"/>
                <a:gd name="T56" fmla="*/ 143 w 144"/>
                <a:gd name="T57" fmla="*/ 10 h 30"/>
                <a:gd name="T58" fmla="*/ 142 w 144"/>
                <a:gd name="T59" fmla="*/ 7 h 30"/>
                <a:gd name="T60" fmla="*/ 139 w 144"/>
                <a:gd name="T61" fmla="*/ 4 h 30"/>
                <a:gd name="T62" fmla="*/ 137 w 144"/>
                <a:gd name="T63" fmla="*/ 3 h 30"/>
                <a:gd name="T64" fmla="*/ 135 w 144"/>
                <a:gd name="T65" fmla="*/ 1 h 30"/>
                <a:gd name="T66" fmla="*/ 132 w 144"/>
                <a:gd name="T67" fmla="*/ 0 h 30"/>
                <a:gd name="T68" fmla="*/ 129 w 144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0">
                  <a:moveTo>
                    <a:pt x="129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7" y="28"/>
                  </a:lnTo>
                  <a:lnTo>
                    <a:pt x="139" y="26"/>
                  </a:lnTo>
                  <a:lnTo>
                    <a:pt x="142" y="24"/>
                  </a:lnTo>
                  <a:lnTo>
                    <a:pt x="143" y="22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2"/>
                  </a:lnTo>
                  <a:lnTo>
                    <a:pt x="143" y="10"/>
                  </a:lnTo>
                  <a:lnTo>
                    <a:pt x="142" y="7"/>
                  </a:lnTo>
                  <a:lnTo>
                    <a:pt x="139" y="4"/>
                  </a:lnTo>
                  <a:lnTo>
                    <a:pt x="137" y="3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14"/>
            <p:cNvSpPr/>
            <p:nvPr/>
          </p:nvSpPr>
          <p:spPr bwMode="auto">
            <a:xfrm>
              <a:off x="11758613" y="2044383"/>
              <a:ext cx="44450" cy="109538"/>
            </a:xfrm>
            <a:custGeom>
              <a:avLst/>
              <a:gdLst>
                <a:gd name="T0" fmla="*/ 88 w 144"/>
                <a:gd name="T1" fmla="*/ 76 h 345"/>
                <a:gd name="T2" fmla="*/ 106 w 144"/>
                <a:gd name="T3" fmla="*/ 91 h 345"/>
                <a:gd name="T4" fmla="*/ 114 w 144"/>
                <a:gd name="T5" fmla="*/ 115 h 345"/>
                <a:gd name="T6" fmla="*/ 116 w 144"/>
                <a:gd name="T7" fmla="*/ 122 h 345"/>
                <a:gd name="T8" fmla="*/ 122 w 144"/>
                <a:gd name="T9" fmla="*/ 129 h 345"/>
                <a:gd name="T10" fmla="*/ 131 w 144"/>
                <a:gd name="T11" fmla="*/ 129 h 345"/>
                <a:gd name="T12" fmla="*/ 138 w 144"/>
                <a:gd name="T13" fmla="*/ 125 h 345"/>
                <a:gd name="T14" fmla="*/ 143 w 144"/>
                <a:gd name="T15" fmla="*/ 117 h 345"/>
                <a:gd name="T16" fmla="*/ 143 w 144"/>
                <a:gd name="T17" fmla="*/ 102 h 345"/>
                <a:gd name="T18" fmla="*/ 134 w 144"/>
                <a:gd name="T19" fmla="*/ 78 h 345"/>
                <a:gd name="T20" fmla="*/ 109 w 144"/>
                <a:gd name="T21" fmla="*/ 54 h 345"/>
                <a:gd name="T22" fmla="*/ 87 w 144"/>
                <a:gd name="T23" fmla="*/ 15 h 345"/>
                <a:gd name="T24" fmla="*/ 84 w 144"/>
                <a:gd name="T25" fmla="*/ 6 h 345"/>
                <a:gd name="T26" fmla="*/ 77 w 144"/>
                <a:gd name="T27" fmla="*/ 1 h 345"/>
                <a:gd name="T28" fmla="*/ 69 w 144"/>
                <a:gd name="T29" fmla="*/ 0 h 345"/>
                <a:gd name="T30" fmla="*/ 61 w 144"/>
                <a:gd name="T31" fmla="*/ 4 h 345"/>
                <a:gd name="T32" fmla="*/ 57 w 144"/>
                <a:gd name="T33" fmla="*/ 12 h 345"/>
                <a:gd name="T34" fmla="*/ 45 w 144"/>
                <a:gd name="T35" fmla="*/ 47 h 345"/>
                <a:gd name="T36" fmla="*/ 16 w 144"/>
                <a:gd name="T37" fmla="*/ 69 h 345"/>
                <a:gd name="T38" fmla="*/ 2 w 144"/>
                <a:gd name="T39" fmla="*/ 95 h 345"/>
                <a:gd name="T40" fmla="*/ 0 w 144"/>
                <a:gd name="T41" fmla="*/ 115 h 345"/>
                <a:gd name="T42" fmla="*/ 3 w 144"/>
                <a:gd name="T43" fmla="*/ 136 h 345"/>
                <a:gd name="T44" fmla="*/ 12 w 144"/>
                <a:gd name="T45" fmla="*/ 154 h 345"/>
                <a:gd name="T46" fmla="*/ 26 w 144"/>
                <a:gd name="T47" fmla="*/ 169 h 345"/>
                <a:gd name="T48" fmla="*/ 43 w 144"/>
                <a:gd name="T49" fmla="*/ 180 h 345"/>
                <a:gd name="T50" fmla="*/ 64 w 144"/>
                <a:gd name="T51" fmla="*/ 185 h 345"/>
                <a:gd name="T52" fmla="*/ 88 w 144"/>
                <a:gd name="T53" fmla="*/ 190 h 345"/>
                <a:gd name="T54" fmla="*/ 106 w 144"/>
                <a:gd name="T55" fmla="*/ 205 h 345"/>
                <a:gd name="T56" fmla="*/ 114 w 144"/>
                <a:gd name="T57" fmla="*/ 228 h 345"/>
                <a:gd name="T58" fmla="*/ 106 w 144"/>
                <a:gd name="T59" fmla="*/ 251 h 345"/>
                <a:gd name="T60" fmla="*/ 88 w 144"/>
                <a:gd name="T61" fmla="*/ 267 h 345"/>
                <a:gd name="T62" fmla="*/ 63 w 144"/>
                <a:gd name="T63" fmla="*/ 269 h 345"/>
                <a:gd name="T64" fmla="*/ 42 w 144"/>
                <a:gd name="T65" fmla="*/ 257 h 345"/>
                <a:gd name="T66" fmla="*/ 30 w 144"/>
                <a:gd name="T67" fmla="*/ 236 h 345"/>
                <a:gd name="T68" fmla="*/ 28 w 144"/>
                <a:gd name="T69" fmla="*/ 222 h 345"/>
                <a:gd name="T70" fmla="*/ 22 w 144"/>
                <a:gd name="T71" fmla="*/ 216 h 345"/>
                <a:gd name="T72" fmla="*/ 15 w 144"/>
                <a:gd name="T73" fmla="*/ 213 h 345"/>
                <a:gd name="T74" fmla="*/ 6 w 144"/>
                <a:gd name="T75" fmla="*/ 216 h 345"/>
                <a:gd name="T76" fmla="*/ 1 w 144"/>
                <a:gd name="T77" fmla="*/ 222 h 345"/>
                <a:gd name="T78" fmla="*/ 0 w 144"/>
                <a:gd name="T79" fmla="*/ 235 h 345"/>
                <a:gd name="T80" fmla="*/ 4 w 144"/>
                <a:gd name="T81" fmla="*/ 253 h 345"/>
                <a:gd name="T82" fmla="*/ 24 w 144"/>
                <a:gd name="T83" fmla="*/ 282 h 345"/>
                <a:gd name="T84" fmla="*/ 57 w 144"/>
                <a:gd name="T85" fmla="*/ 298 h 345"/>
                <a:gd name="T86" fmla="*/ 58 w 144"/>
                <a:gd name="T87" fmla="*/ 337 h 345"/>
                <a:gd name="T88" fmla="*/ 63 w 144"/>
                <a:gd name="T89" fmla="*/ 343 h 345"/>
                <a:gd name="T90" fmla="*/ 72 w 144"/>
                <a:gd name="T91" fmla="*/ 345 h 345"/>
                <a:gd name="T92" fmla="*/ 79 w 144"/>
                <a:gd name="T93" fmla="*/ 343 h 345"/>
                <a:gd name="T94" fmla="*/ 85 w 144"/>
                <a:gd name="T95" fmla="*/ 337 h 345"/>
                <a:gd name="T96" fmla="*/ 87 w 144"/>
                <a:gd name="T97" fmla="*/ 298 h 345"/>
                <a:gd name="T98" fmla="*/ 119 w 144"/>
                <a:gd name="T99" fmla="*/ 282 h 345"/>
                <a:gd name="T100" fmla="*/ 139 w 144"/>
                <a:gd name="T101" fmla="*/ 253 h 345"/>
                <a:gd name="T102" fmla="*/ 143 w 144"/>
                <a:gd name="T103" fmla="*/ 235 h 345"/>
                <a:gd name="T104" fmla="*/ 141 w 144"/>
                <a:gd name="T105" fmla="*/ 213 h 345"/>
                <a:gd name="T106" fmla="*/ 134 w 144"/>
                <a:gd name="T107" fmla="*/ 194 h 345"/>
                <a:gd name="T108" fmla="*/ 122 w 144"/>
                <a:gd name="T109" fmla="*/ 177 h 345"/>
                <a:gd name="T110" fmla="*/ 106 w 144"/>
                <a:gd name="T111" fmla="*/ 165 h 345"/>
                <a:gd name="T112" fmla="*/ 86 w 144"/>
                <a:gd name="T113" fmla="*/ 158 h 345"/>
                <a:gd name="T114" fmla="*/ 63 w 144"/>
                <a:gd name="T115" fmla="*/ 155 h 345"/>
                <a:gd name="T116" fmla="*/ 42 w 144"/>
                <a:gd name="T117" fmla="*/ 144 h 345"/>
                <a:gd name="T118" fmla="*/ 30 w 144"/>
                <a:gd name="T119" fmla="*/ 122 h 345"/>
                <a:gd name="T120" fmla="*/ 33 w 144"/>
                <a:gd name="T121" fmla="*/ 98 h 345"/>
                <a:gd name="T122" fmla="*/ 48 w 144"/>
                <a:gd name="T123" fmla="*/ 79 h 345"/>
                <a:gd name="T124" fmla="*/ 72 w 144"/>
                <a:gd name="T125" fmla="*/ 72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345">
                  <a:moveTo>
                    <a:pt x="72" y="72"/>
                  </a:moveTo>
                  <a:lnTo>
                    <a:pt x="79" y="73"/>
                  </a:lnTo>
                  <a:lnTo>
                    <a:pt x="88" y="76"/>
                  </a:lnTo>
                  <a:lnTo>
                    <a:pt x="94" y="79"/>
                  </a:lnTo>
                  <a:lnTo>
                    <a:pt x="101" y="85"/>
                  </a:lnTo>
                  <a:lnTo>
                    <a:pt x="106" y="91"/>
                  </a:lnTo>
                  <a:lnTo>
                    <a:pt x="109" y="98"/>
                  </a:lnTo>
                  <a:lnTo>
                    <a:pt x="113" y="106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5" y="120"/>
                  </a:lnTo>
                  <a:lnTo>
                    <a:pt x="116" y="122"/>
                  </a:lnTo>
                  <a:lnTo>
                    <a:pt x="118" y="125"/>
                  </a:lnTo>
                  <a:lnTo>
                    <a:pt x="120" y="126"/>
                  </a:lnTo>
                  <a:lnTo>
                    <a:pt x="122" y="129"/>
                  </a:lnTo>
                  <a:lnTo>
                    <a:pt x="125" y="129"/>
                  </a:lnTo>
                  <a:lnTo>
                    <a:pt x="129" y="130"/>
                  </a:lnTo>
                  <a:lnTo>
                    <a:pt x="131" y="129"/>
                  </a:lnTo>
                  <a:lnTo>
                    <a:pt x="134" y="129"/>
                  </a:lnTo>
                  <a:lnTo>
                    <a:pt x="136" y="126"/>
                  </a:lnTo>
                  <a:lnTo>
                    <a:pt x="138" y="125"/>
                  </a:lnTo>
                  <a:lnTo>
                    <a:pt x="140" y="122"/>
                  </a:lnTo>
                  <a:lnTo>
                    <a:pt x="141" y="120"/>
                  </a:lnTo>
                  <a:lnTo>
                    <a:pt x="143" y="117"/>
                  </a:lnTo>
                  <a:lnTo>
                    <a:pt x="144" y="115"/>
                  </a:lnTo>
                  <a:lnTo>
                    <a:pt x="143" y="108"/>
                  </a:lnTo>
                  <a:lnTo>
                    <a:pt x="143" y="102"/>
                  </a:lnTo>
                  <a:lnTo>
                    <a:pt x="140" y="95"/>
                  </a:lnTo>
                  <a:lnTo>
                    <a:pt x="139" y="90"/>
                  </a:lnTo>
                  <a:lnTo>
                    <a:pt x="134" y="78"/>
                  </a:lnTo>
                  <a:lnTo>
                    <a:pt x="126" y="69"/>
                  </a:lnTo>
                  <a:lnTo>
                    <a:pt x="119" y="60"/>
                  </a:lnTo>
                  <a:lnTo>
                    <a:pt x="109" y="54"/>
                  </a:lnTo>
                  <a:lnTo>
                    <a:pt x="99" y="47"/>
                  </a:lnTo>
                  <a:lnTo>
                    <a:pt x="87" y="44"/>
                  </a:lnTo>
                  <a:lnTo>
                    <a:pt x="87" y="15"/>
                  </a:lnTo>
                  <a:lnTo>
                    <a:pt x="86" y="12"/>
                  </a:lnTo>
                  <a:lnTo>
                    <a:pt x="85" y="9"/>
                  </a:lnTo>
                  <a:lnTo>
                    <a:pt x="84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1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5" y="1"/>
                  </a:lnTo>
                  <a:lnTo>
                    <a:pt x="63" y="2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8" y="10"/>
                  </a:lnTo>
                  <a:lnTo>
                    <a:pt x="57" y="12"/>
                  </a:lnTo>
                  <a:lnTo>
                    <a:pt x="57" y="15"/>
                  </a:lnTo>
                  <a:lnTo>
                    <a:pt x="57" y="44"/>
                  </a:lnTo>
                  <a:lnTo>
                    <a:pt x="45" y="47"/>
                  </a:lnTo>
                  <a:lnTo>
                    <a:pt x="33" y="53"/>
                  </a:lnTo>
                  <a:lnTo>
                    <a:pt x="24" y="60"/>
                  </a:lnTo>
                  <a:lnTo>
                    <a:pt x="16" y="69"/>
                  </a:lnTo>
                  <a:lnTo>
                    <a:pt x="9" y="78"/>
                  </a:lnTo>
                  <a:lnTo>
                    <a:pt x="4" y="90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3" y="136"/>
                  </a:lnTo>
                  <a:lnTo>
                    <a:pt x="5" y="143"/>
                  </a:lnTo>
                  <a:lnTo>
                    <a:pt x="9" y="149"/>
                  </a:lnTo>
                  <a:lnTo>
                    <a:pt x="12" y="154"/>
                  </a:lnTo>
                  <a:lnTo>
                    <a:pt x="16" y="160"/>
                  </a:lnTo>
                  <a:lnTo>
                    <a:pt x="20" y="165"/>
                  </a:lnTo>
                  <a:lnTo>
                    <a:pt x="26" y="169"/>
                  </a:lnTo>
                  <a:lnTo>
                    <a:pt x="31" y="174"/>
                  </a:lnTo>
                  <a:lnTo>
                    <a:pt x="37" y="178"/>
                  </a:lnTo>
                  <a:lnTo>
                    <a:pt x="43" y="180"/>
                  </a:lnTo>
                  <a:lnTo>
                    <a:pt x="50" y="183"/>
                  </a:lnTo>
                  <a:lnTo>
                    <a:pt x="57" y="184"/>
                  </a:lnTo>
                  <a:lnTo>
                    <a:pt x="64" y="185"/>
                  </a:lnTo>
                  <a:lnTo>
                    <a:pt x="72" y="187"/>
                  </a:lnTo>
                  <a:lnTo>
                    <a:pt x="79" y="187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101" y="198"/>
                  </a:lnTo>
                  <a:lnTo>
                    <a:pt x="106" y="205"/>
                  </a:lnTo>
                  <a:lnTo>
                    <a:pt x="109" y="211"/>
                  </a:lnTo>
                  <a:lnTo>
                    <a:pt x="113" y="220"/>
                  </a:lnTo>
                  <a:lnTo>
                    <a:pt x="114" y="228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6" y="251"/>
                  </a:lnTo>
                  <a:lnTo>
                    <a:pt x="101" y="257"/>
                  </a:lnTo>
                  <a:lnTo>
                    <a:pt x="94" y="263"/>
                  </a:lnTo>
                  <a:lnTo>
                    <a:pt x="88" y="267"/>
                  </a:lnTo>
                  <a:lnTo>
                    <a:pt x="79" y="269"/>
                  </a:lnTo>
                  <a:lnTo>
                    <a:pt x="72" y="270"/>
                  </a:lnTo>
                  <a:lnTo>
                    <a:pt x="63" y="269"/>
                  </a:lnTo>
                  <a:lnTo>
                    <a:pt x="55" y="267"/>
                  </a:lnTo>
                  <a:lnTo>
                    <a:pt x="48" y="263"/>
                  </a:lnTo>
                  <a:lnTo>
                    <a:pt x="42" y="257"/>
                  </a:lnTo>
                  <a:lnTo>
                    <a:pt x="36" y="251"/>
                  </a:lnTo>
                  <a:lnTo>
                    <a:pt x="33" y="244"/>
                  </a:lnTo>
                  <a:lnTo>
                    <a:pt x="30" y="236"/>
                  </a:lnTo>
                  <a:lnTo>
                    <a:pt x="30" y="228"/>
                  </a:lnTo>
                  <a:lnTo>
                    <a:pt x="29" y="225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5" y="218"/>
                  </a:lnTo>
                  <a:lnTo>
                    <a:pt x="22" y="216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5" y="213"/>
                  </a:lnTo>
                  <a:lnTo>
                    <a:pt x="12" y="213"/>
                  </a:lnTo>
                  <a:lnTo>
                    <a:pt x="9" y="214"/>
                  </a:lnTo>
                  <a:lnTo>
                    <a:pt x="6" y="216"/>
                  </a:lnTo>
                  <a:lnTo>
                    <a:pt x="4" y="218"/>
                  </a:lnTo>
                  <a:lnTo>
                    <a:pt x="2" y="220"/>
                  </a:lnTo>
                  <a:lnTo>
                    <a:pt x="1" y="222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5"/>
                  </a:lnTo>
                  <a:lnTo>
                    <a:pt x="1" y="240"/>
                  </a:lnTo>
                  <a:lnTo>
                    <a:pt x="2" y="247"/>
                  </a:lnTo>
                  <a:lnTo>
                    <a:pt x="4" y="253"/>
                  </a:lnTo>
                  <a:lnTo>
                    <a:pt x="9" y="264"/>
                  </a:lnTo>
                  <a:lnTo>
                    <a:pt x="16" y="273"/>
                  </a:lnTo>
                  <a:lnTo>
                    <a:pt x="24" y="282"/>
                  </a:lnTo>
                  <a:lnTo>
                    <a:pt x="33" y="289"/>
                  </a:lnTo>
                  <a:lnTo>
                    <a:pt x="45" y="295"/>
                  </a:lnTo>
                  <a:lnTo>
                    <a:pt x="57" y="298"/>
                  </a:lnTo>
                  <a:lnTo>
                    <a:pt x="57" y="330"/>
                  </a:lnTo>
                  <a:lnTo>
                    <a:pt x="57" y="333"/>
                  </a:lnTo>
                  <a:lnTo>
                    <a:pt x="58" y="337"/>
                  </a:lnTo>
                  <a:lnTo>
                    <a:pt x="59" y="339"/>
                  </a:lnTo>
                  <a:lnTo>
                    <a:pt x="61" y="341"/>
                  </a:lnTo>
                  <a:lnTo>
                    <a:pt x="63" y="343"/>
                  </a:lnTo>
                  <a:lnTo>
                    <a:pt x="65" y="344"/>
                  </a:lnTo>
                  <a:lnTo>
                    <a:pt x="69" y="345"/>
                  </a:lnTo>
                  <a:lnTo>
                    <a:pt x="72" y="345"/>
                  </a:lnTo>
                  <a:lnTo>
                    <a:pt x="74" y="345"/>
                  </a:lnTo>
                  <a:lnTo>
                    <a:pt x="77" y="344"/>
                  </a:lnTo>
                  <a:lnTo>
                    <a:pt x="79" y="343"/>
                  </a:lnTo>
                  <a:lnTo>
                    <a:pt x="81" y="341"/>
                  </a:lnTo>
                  <a:lnTo>
                    <a:pt x="84" y="339"/>
                  </a:lnTo>
                  <a:lnTo>
                    <a:pt x="85" y="337"/>
                  </a:lnTo>
                  <a:lnTo>
                    <a:pt x="86" y="333"/>
                  </a:lnTo>
                  <a:lnTo>
                    <a:pt x="87" y="330"/>
                  </a:lnTo>
                  <a:lnTo>
                    <a:pt x="87" y="298"/>
                  </a:lnTo>
                  <a:lnTo>
                    <a:pt x="99" y="295"/>
                  </a:lnTo>
                  <a:lnTo>
                    <a:pt x="109" y="289"/>
                  </a:lnTo>
                  <a:lnTo>
                    <a:pt x="119" y="282"/>
                  </a:lnTo>
                  <a:lnTo>
                    <a:pt x="126" y="273"/>
                  </a:lnTo>
                  <a:lnTo>
                    <a:pt x="134" y="264"/>
                  </a:lnTo>
                  <a:lnTo>
                    <a:pt x="139" y="253"/>
                  </a:lnTo>
                  <a:lnTo>
                    <a:pt x="140" y="247"/>
                  </a:lnTo>
                  <a:lnTo>
                    <a:pt x="143" y="240"/>
                  </a:lnTo>
                  <a:lnTo>
                    <a:pt x="143" y="235"/>
                  </a:lnTo>
                  <a:lnTo>
                    <a:pt x="144" y="228"/>
                  </a:lnTo>
                  <a:lnTo>
                    <a:pt x="143" y="221"/>
                  </a:lnTo>
                  <a:lnTo>
                    <a:pt x="141" y="213"/>
                  </a:lnTo>
                  <a:lnTo>
                    <a:pt x="140" y="207"/>
                  </a:lnTo>
                  <a:lnTo>
                    <a:pt x="137" y="200"/>
                  </a:lnTo>
                  <a:lnTo>
                    <a:pt x="134" y="194"/>
                  </a:lnTo>
                  <a:lnTo>
                    <a:pt x="131" y="188"/>
                  </a:lnTo>
                  <a:lnTo>
                    <a:pt x="126" y="182"/>
                  </a:lnTo>
                  <a:lnTo>
                    <a:pt x="122" y="177"/>
                  </a:lnTo>
                  <a:lnTo>
                    <a:pt x="117" y="173"/>
                  </a:lnTo>
                  <a:lnTo>
                    <a:pt x="111" y="168"/>
                  </a:lnTo>
                  <a:lnTo>
                    <a:pt x="106" y="165"/>
                  </a:lnTo>
                  <a:lnTo>
                    <a:pt x="100" y="162"/>
                  </a:lnTo>
                  <a:lnTo>
                    <a:pt x="92" y="160"/>
                  </a:lnTo>
                  <a:lnTo>
                    <a:pt x="86" y="158"/>
                  </a:lnTo>
                  <a:lnTo>
                    <a:pt x="78" y="157"/>
                  </a:lnTo>
                  <a:lnTo>
                    <a:pt x="72" y="157"/>
                  </a:lnTo>
                  <a:lnTo>
                    <a:pt x="63" y="155"/>
                  </a:lnTo>
                  <a:lnTo>
                    <a:pt x="55" y="153"/>
                  </a:lnTo>
                  <a:lnTo>
                    <a:pt x="48" y="149"/>
                  </a:lnTo>
                  <a:lnTo>
                    <a:pt x="42" y="144"/>
                  </a:lnTo>
                  <a:lnTo>
                    <a:pt x="36" y="137"/>
                  </a:lnTo>
                  <a:lnTo>
                    <a:pt x="33" y="131"/>
                  </a:lnTo>
                  <a:lnTo>
                    <a:pt x="30" y="122"/>
                  </a:lnTo>
                  <a:lnTo>
                    <a:pt x="30" y="115"/>
                  </a:lnTo>
                  <a:lnTo>
                    <a:pt x="30" y="106"/>
                  </a:lnTo>
                  <a:lnTo>
                    <a:pt x="33" y="98"/>
                  </a:lnTo>
                  <a:lnTo>
                    <a:pt x="36" y="91"/>
                  </a:lnTo>
                  <a:lnTo>
                    <a:pt x="42" y="85"/>
                  </a:lnTo>
                  <a:lnTo>
                    <a:pt x="48" y="79"/>
                  </a:lnTo>
                  <a:lnTo>
                    <a:pt x="55" y="76"/>
                  </a:lnTo>
                  <a:lnTo>
                    <a:pt x="63" y="73"/>
                  </a:lnTo>
                  <a:lnTo>
                    <a:pt x="7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Freeform 135"/>
          <p:cNvSpPr>
            <a:spLocks noEditPoints="1"/>
          </p:cNvSpPr>
          <p:nvPr/>
        </p:nvSpPr>
        <p:spPr bwMode="auto">
          <a:xfrm>
            <a:off x="2625182" y="2466074"/>
            <a:ext cx="592334" cy="592334"/>
          </a:xfrm>
          <a:custGeom>
            <a:avLst/>
            <a:gdLst>
              <a:gd name="T0" fmla="*/ 783 w 903"/>
              <a:gd name="T1" fmla="*/ 533 h 903"/>
              <a:gd name="T2" fmla="*/ 853 w 903"/>
              <a:gd name="T3" fmla="*/ 505 h 903"/>
              <a:gd name="T4" fmla="*/ 853 w 903"/>
              <a:gd name="T5" fmla="*/ 580 h 903"/>
              <a:gd name="T6" fmla="*/ 435 w 903"/>
              <a:gd name="T7" fmla="*/ 504 h 903"/>
              <a:gd name="T8" fmla="*/ 376 w 903"/>
              <a:gd name="T9" fmla="*/ 392 h 903"/>
              <a:gd name="T10" fmla="*/ 435 w 903"/>
              <a:gd name="T11" fmla="*/ 280 h 903"/>
              <a:gd name="T12" fmla="*/ 564 w 903"/>
              <a:gd name="T13" fmla="*/ 267 h 903"/>
              <a:gd name="T14" fmla="*/ 644 w 903"/>
              <a:gd name="T15" fmla="*/ 365 h 903"/>
              <a:gd name="T16" fmla="*/ 607 w 903"/>
              <a:gd name="T17" fmla="*/ 488 h 903"/>
              <a:gd name="T18" fmla="*/ 65 w 903"/>
              <a:gd name="T19" fmla="*/ 873 h 903"/>
              <a:gd name="T20" fmla="*/ 37 w 903"/>
              <a:gd name="T21" fmla="*/ 803 h 903"/>
              <a:gd name="T22" fmla="*/ 112 w 903"/>
              <a:gd name="T23" fmla="*/ 803 h 903"/>
              <a:gd name="T24" fmla="*/ 84 w 903"/>
              <a:gd name="T25" fmla="*/ 873 h 903"/>
              <a:gd name="T26" fmla="*/ 873 w 903"/>
              <a:gd name="T27" fmla="*/ 76 h 903"/>
              <a:gd name="T28" fmla="*/ 810 w 903"/>
              <a:gd name="T29" fmla="*/ 117 h 903"/>
              <a:gd name="T30" fmla="*/ 796 w 903"/>
              <a:gd name="T31" fmla="*/ 44 h 903"/>
              <a:gd name="T32" fmla="*/ 559 w 903"/>
              <a:gd name="T33" fmla="*/ 860 h 903"/>
              <a:gd name="T34" fmla="*/ 485 w 903"/>
              <a:gd name="T35" fmla="*/ 846 h 903"/>
              <a:gd name="T36" fmla="*/ 526 w 903"/>
              <a:gd name="T37" fmla="*/ 783 h 903"/>
              <a:gd name="T38" fmla="*/ 65 w 903"/>
              <a:gd name="T39" fmla="*/ 255 h 903"/>
              <a:gd name="T40" fmla="*/ 37 w 903"/>
              <a:gd name="T41" fmla="*/ 186 h 903"/>
              <a:gd name="T42" fmla="*/ 112 w 903"/>
              <a:gd name="T43" fmla="*/ 186 h 903"/>
              <a:gd name="T44" fmla="*/ 84 w 903"/>
              <a:gd name="T45" fmla="*/ 255 h 903"/>
              <a:gd name="T46" fmla="*/ 768 w 903"/>
              <a:gd name="T47" fmla="*/ 498 h 903"/>
              <a:gd name="T48" fmla="*/ 662 w 903"/>
              <a:gd name="T49" fmla="*/ 322 h 903"/>
              <a:gd name="T50" fmla="*/ 843 w 903"/>
              <a:gd name="T51" fmla="*/ 149 h 903"/>
              <a:gd name="T52" fmla="*/ 896 w 903"/>
              <a:gd name="T53" fmla="*/ 105 h 903"/>
              <a:gd name="T54" fmla="*/ 890 w 903"/>
              <a:gd name="T55" fmla="*/ 33 h 903"/>
              <a:gd name="T56" fmla="*/ 828 w 903"/>
              <a:gd name="T57" fmla="*/ 0 h 903"/>
              <a:gd name="T58" fmla="*/ 765 w 903"/>
              <a:gd name="T59" fmla="*/ 33 h 903"/>
              <a:gd name="T60" fmla="*/ 765 w 903"/>
              <a:gd name="T61" fmla="*/ 117 h 903"/>
              <a:gd name="T62" fmla="*/ 500 w 903"/>
              <a:gd name="T63" fmla="*/ 226 h 903"/>
              <a:gd name="T64" fmla="*/ 399 w 903"/>
              <a:gd name="T65" fmla="*/ 272 h 903"/>
              <a:gd name="T66" fmla="*/ 149 w 903"/>
              <a:gd name="T67" fmla="*/ 196 h 903"/>
              <a:gd name="T68" fmla="*/ 104 w 903"/>
              <a:gd name="T69" fmla="*/ 142 h 903"/>
              <a:gd name="T70" fmla="*/ 33 w 903"/>
              <a:gd name="T71" fmla="*/ 149 h 903"/>
              <a:gd name="T72" fmla="*/ 0 w 903"/>
              <a:gd name="T73" fmla="*/ 211 h 903"/>
              <a:gd name="T74" fmla="*/ 33 w 903"/>
              <a:gd name="T75" fmla="*/ 274 h 903"/>
              <a:gd name="T76" fmla="*/ 110 w 903"/>
              <a:gd name="T77" fmla="*/ 278 h 903"/>
              <a:gd name="T78" fmla="*/ 346 w 903"/>
              <a:gd name="T79" fmla="*/ 407 h 903"/>
              <a:gd name="T80" fmla="*/ 96 w 903"/>
              <a:gd name="T81" fmla="*/ 756 h 903"/>
              <a:gd name="T82" fmla="*/ 21 w 903"/>
              <a:gd name="T83" fmla="*/ 776 h 903"/>
              <a:gd name="T84" fmla="*/ 1 w 903"/>
              <a:gd name="T85" fmla="*/ 843 h 903"/>
              <a:gd name="T86" fmla="*/ 46 w 903"/>
              <a:gd name="T87" fmla="*/ 898 h 903"/>
              <a:gd name="T88" fmla="*/ 117 w 903"/>
              <a:gd name="T89" fmla="*/ 890 h 903"/>
              <a:gd name="T90" fmla="*/ 150 w 903"/>
              <a:gd name="T91" fmla="*/ 828 h 903"/>
              <a:gd name="T92" fmla="*/ 467 w 903"/>
              <a:gd name="T93" fmla="*/ 551 h 903"/>
              <a:gd name="T94" fmla="*/ 469 w 903"/>
              <a:gd name="T95" fmla="*/ 781 h 903"/>
              <a:gd name="T96" fmla="*/ 452 w 903"/>
              <a:gd name="T97" fmla="*/ 843 h 903"/>
              <a:gd name="T98" fmla="*/ 498 w 903"/>
              <a:gd name="T99" fmla="*/ 898 h 903"/>
              <a:gd name="T100" fmla="*/ 568 w 903"/>
              <a:gd name="T101" fmla="*/ 890 h 903"/>
              <a:gd name="T102" fmla="*/ 602 w 903"/>
              <a:gd name="T103" fmla="*/ 828 h 903"/>
              <a:gd name="T104" fmla="*/ 565 w 903"/>
              <a:gd name="T105" fmla="*/ 764 h 903"/>
              <a:gd name="T106" fmla="*/ 620 w 903"/>
              <a:gd name="T107" fmla="*/ 516 h 903"/>
              <a:gd name="T108" fmla="*/ 758 w 903"/>
              <a:gd name="T109" fmla="*/ 572 h 903"/>
              <a:gd name="T110" fmla="*/ 812 w 903"/>
              <a:gd name="T111" fmla="*/ 616 h 903"/>
              <a:gd name="T112" fmla="*/ 880 w 903"/>
              <a:gd name="T113" fmla="*/ 595 h 903"/>
              <a:gd name="T114" fmla="*/ 901 w 903"/>
              <a:gd name="T115" fmla="*/ 528 h 903"/>
              <a:gd name="T116" fmla="*/ 857 w 903"/>
              <a:gd name="T117" fmla="*/ 473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3">
                <a:moveTo>
                  <a:pt x="828" y="588"/>
                </a:moveTo>
                <a:lnTo>
                  <a:pt x="818" y="587"/>
                </a:lnTo>
                <a:lnTo>
                  <a:pt x="810" y="584"/>
                </a:lnTo>
                <a:lnTo>
                  <a:pt x="802" y="580"/>
                </a:lnTo>
                <a:lnTo>
                  <a:pt x="796" y="574"/>
                </a:lnTo>
                <a:lnTo>
                  <a:pt x="790" y="567"/>
                </a:lnTo>
                <a:lnTo>
                  <a:pt x="786" y="560"/>
                </a:lnTo>
                <a:lnTo>
                  <a:pt x="783" y="551"/>
                </a:lnTo>
                <a:lnTo>
                  <a:pt x="783" y="543"/>
                </a:lnTo>
                <a:lnTo>
                  <a:pt x="783" y="533"/>
                </a:lnTo>
                <a:lnTo>
                  <a:pt x="786" y="525"/>
                </a:lnTo>
                <a:lnTo>
                  <a:pt x="790" y="517"/>
                </a:lnTo>
                <a:lnTo>
                  <a:pt x="796" y="511"/>
                </a:lnTo>
                <a:lnTo>
                  <a:pt x="802" y="505"/>
                </a:lnTo>
                <a:lnTo>
                  <a:pt x="810" y="501"/>
                </a:lnTo>
                <a:lnTo>
                  <a:pt x="818" y="498"/>
                </a:lnTo>
                <a:lnTo>
                  <a:pt x="828" y="498"/>
                </a:lnTo>
                <a:lnTo>
                  <a:pt x="836" y="498"/>
                </a:lnTo>
                <a:lnTo>
                  <a:pt x="845" y="501"/>
                </a:lnTo>
                <a:lnTo>
                  <a:pt x="853" y="505"/>
                </a:lnTo>
                <a:lnTo>
                  <a:pt x="859" y="511"/>
                </a:lnTo>
                <a:lnTo>
                  <a:pt x="864" y="517"/>
                </a:lnTo>
                <a:lnTo>
                  <a:pt x="869" y="525"/>
                </a:lnTo>
                <a:lnTo>
                  <a:pt x="872" y="533"/>
                </a:lnTo>
                <a:lnTo>
                  <a:pt x="873" y="543"/>
                </a:lnTo>
                <a:lnTo>
                  <a:pt x="872" y="551"/>
                </a:lnTo>
                <a:lnTo>
                  <a:pt x="869" y="560"/>
                </a:lnTo>
                <a:lnTo>
                  <a:pt x="865" y="567"/>
                </a:lnTo>
                <a:lnTo>
                  <a:pt x="859" y="574"/>
                </a:lnTo>
                <a:lnTo>
                  <a:pt x="853" y="580"/>
                </a:lnTo>
                <a:lnTo>
                  <a:pt x="845" y="584"/>
                </a:lnTo>
                <a:lnTo>
                  <a:pt x="836" y="587"/>
                </a:lnTo>
                <a:lnTo>
                  <a:pt x="828" y="588"/>
                </a:lnTo>
                <a:close/>
                <a:moveTo>
                  <a:pt x="511" y="528"/>
                </a:moveTo>
                <a:lnTo>
                  <a:pt x="498" y="527"/>
                </a:lnTo>
                <a:lnTo>
                  <a:pt x="484" y="525"/>
                </a:lnTo>
                <a:lnTo>
                  <a:pt x="471" y="521"/>
                </a:lnTo>
                <a:lnTo>
                  <a:pt x="459" y="517"/>
                </a:lnTo>
                <a:lnTo>
                  <a:pt x="447" y="511"/>
                </a:lnTo>
                <a:lnTo>
                  <a:pt x="435" y="504"/>
                </a:lnTo>
                <a:lnTo>
                  <a:pt x="426" y="497"/>
                </a:lnTo>
                <a:lnTo>
                  <a:pt x="416" y="488"/>
                </a:lnTo>
                <a:lnTo>
                  <a:pt x="406" y="478"/>
                </a:lnTo>
                <a:lnTo>
                  <a:pt x="399" y="468"/>
                </a:lnTo>
                <a:lnTo>
                  <a:pt x="392" y="456"/>
                </a:lnTo>
                <a:lnTo>
                  <a:pt x="387" y="444"/>
                </a:lnTo>
                <a:lnTo>
                  <a:pt x="382" y="432"/>
                </a:lnTo>
                <a:lnTo>
                  <a:pt x="378" y="420"/>
                </a:lnTo>
                <a:lnTo>
                  <a:pt x="376" y="406"/>
                </a:lnTo>
                <a:lnTo>
                  <a:pt x="376" y="392"/>
                </a:lnTo>
                <a:lnTo>
                  <a:pt x="376" y="378"/>
                </a:lnTo>
                <a:lnTo>
                  <a:pt x="378" y="365"/>
                </a:lnTo>
                <a:lnTo>
                  <a:pt x="382" y="352"/>
                </a:lnTo>
                <a:lnTo>
                  <a:pt x="387" y="339"/>
                </a:lnTo>
                <a:lnTo>
                  <a:pt x="392" y="327"/>
                </a:lnTo>
                <a:lnTo>
                  <a:pt x="399" y="317"/>
                </a:lnTo>
                <a:lnTo>
                  <a:pt x="406" y="306"/>
                </a:lnTo>
                <a:lnTo>
                  <a:pt x="416" y="296"/>
                </a:lnTo>
                <a:lnTo>
                  <a:pt x="426" y="288"/>
                </a:lnTo>
                <a:lnTo>
                  <a:pt x="435" y="280"/>
                </a:lnTo>
                <a:lnTo>
                  <a:pt x="447" y="273"/>
                </a:lnTo>
                <a:lnTo>
                  <a:pt x="459" y="267"/>
                </a:lnTo>
                <a:lnTo>
                  <a:pt x="471" y="263"/>
                </a:lnTo>
                <a:lnTo>
                  <a:pt x="484" y="260"/>
                </a:lnTo>
                <a:lnTo>
                  <a:pt x="498" y="258"/>
                </a:lnTo>
                <a:lnTo>
                  <a:pt x="511" y="257"/>
                </a:lnTo>
                <a:lnTo>
                  <a:pt x="525" y="258"/>
                </a:lnTo>
                <a:lnTo>
                  <a:pt x="538" y="260"/>
                </a:lnTo>
                <a:lnTo>
                  <a:pt x="551" y="263"/>
                </a:lnTo>
                <a:lnTo>
                  <a:pt x="564" y="267"/>
                </a:lnTo>
                <a:lnTo>
                  <a:pt x="576" y="273"/>
                </a:lnTo>
                <a:lnTo>
                  <a:pt x="587" y="280"/>
                </a:lnTo>
                <a:lnTo>
                  <a:pt x="597" y="288"/>
                </a:lnTo>
                <a:lnTo>
                  <a:pt x="607" y="296"/>
                </a:lnTo>
                <a:lnTo>
                  <a:pt x="615" y="306"/>
                </a:lnTo>
                <a:lnTo>
                  <a:pt x="624" y="317"/>
                </a:lnTo>
                <a:lnTo>
                  <a:pt x="630" y="327"/>
                </a:lnTo>
                <a:lnTo>
                  <a:pt x="636" y="339"/>
                </a:lnTo>
                <a:lnTo>
                  <a:pt x="640" y="352"/>
                </a:lnTo>
                <a:lnTo>
                  <a:pt x="644" y="365"/>
                </a:lnTo>
                <a:lnTo>
                  <a:pt x="647" y="378"/>
                </a:lnTo>
                <a:lnTo>
                  <a:pt x="647" y="392"/>
                </a:lnTo>
                <a:lnTo>
                  <a:pt x="647" y="406"/>
                </a:lnTo>
                <a:lnTo>
                  <a:pt x="644" y="420"/>
                </a:lnTo>
                <a:lnTo>
                  <a:pt x="640" y="432"/>
                </a:lnTo>
                <a:lnTo>
                  <a:pt x="636" y="444"/>
                </a:lnTo>
                <a:lnTo>
                  <a:pt x="630" y="456"/>
                </a:lnTo>
                <a:lnTo>
                  <a:pt x="624" y="468"/>
                </a:lnTo>
                <a:lnTo>
                  <a:pt x="615" y="478"/>
                </a:lnTo>
                <a:lnTo>
                  <a:pt x="607" y="488"/>
                </a:lnTo>
                <a:lnTo>
                  <a:pt x="597" y="497"/>
                </a:lnTo>
                <a:lnTo>
                  <a:pt x="587" y="504"/>
                </a:lnTo>
                <a:lnTo>
                  <a:pt x="576" y="511"/>
                </a:lnTo>
                <a:lnTo>
                  <a:pt x="564" y="517"/>
                </a:lnTo>
                <a:lnTo>
                  <a:pt x="551" y="521"/>
                </a:lnTo>
                <a:lnTo>
                  <a:pt x="538" y="525"/>
                </a:lnTo>
                <a:lnTo>
                  <a:pt x="525" y="527"/>
                </a:lnTo>
                <a:lnTo>
                  <a:pt x="511" y="528"/>
                </a:lnTo>
                <a:close/>
                <a:moveTo>
                  <a:pt x="75" y="873"/>
                </a:moveTo>
                <a:lnTo>
                  <a:pt x="65" y="873"/>
                </a:lnTo>
                <a:lnTo>
                  <a:pt x="58" y="870"/>
                </a:lnTo>
                <a:lnTo>
                  <a:pt x="49" y="866"/>
                </a:lnTo>
                <a:lnTo>
                  <a:pt x="43" y="860"/>
                </a:lnTo>
                <a:lnTo>
                  <a:pt x="37" y="854"/>
                </a:lnTo>
                <a:lnTo>
                  <a:pt x="33" y="846"/>
                </a:lnTo>
                <a:lnTo>
                  <a:pt x="31" y="838"/>
                </a:lnTo>
                <a:lnTo>
                  <a:pt x="30" y="828"/>
                </a:lnTo>
                <a:lnTo>
                  <a:pt x="31" y="819"/>
                </a:lnTo>
                <a:lnTo>
                  <a:pt x="33" y="811"/>
                </a:lnTo>
                <a:lnTo>
                  <a:pt x="37" y="803"/>
                </a:lnTo>
                <a:lnTo>
                  <a:pt x="43" y="796"/>
                </a:lnTo>
                <a:lnTo>
                  <a:pt x="49" y="791"/>
                </a:lnTo>
                <a:lnTo>
                  <a:pt x="58" y="786"/>
                </a:lnTo>
                <a:lnTo>
                  <a:pt x="65" y="784"/>
                </a:lnTo>
                <a:lnTo>
                  <a:pt x="75" y="783"/>
                </a:lnTo>
                <a:lnTo>
                  <a:pt x="84" y="784"/>
                </a:lnTo>
                <a:lnTo>
                  <a:pt x="92" y="787"/>
                </a:lnTo>
                <a:lnTo>
                  <a:pt x="100" y="791"/>
                </a:lnTo>
                <a:lnTo>
                  <a:pt x="107" y="797"/>
                </a:lnTo>
                <a:lnTo>
                  <a:pt x="112" y="803"/>
                </a:lnTo>
                <a:lnTo>
                  <a:pt x="117" y="811"/>
                </a:lnTo>
                <a:lnTo>
                  <a:pt x="119" y="819"/>
                </a:lnTo>
                <a:lnTo>
                  <a:pt x="120" y="828"/>
                </a:lnTo>
                <a:lnTo>
                  <a:pt x="119" y="838"/>
                </a:lnTo>
                <a:lnTo>
                  <a:pt x="117" y="846"/>
                </a:lnTo>
                <a:lnTo>
                  <a:pt x="112" y="854"/>
                </a:lnTo>
                <a:lnTo>
                  <a:pt x="107" y="860"/>
                </a:lnTo>
                <a:lnTo>
                  <a:pt x="100" y="866"/>
                </a:lnTo>
                <a:lnTo>
                  <a:pt x="92" y="870"/>
                </a:lnTo>
                <a:lnTo>
                  <a:pt x="84" y="873"/>
                </a:lnTo>
                <a:lnTo>
                  <a:pt x="75" y="873"/>
                </a:lnTo>
                <a:close/>
                <a:moveTo>
                  <a:pt x="828" y="30"/>
                </a:moveTo>
                <a:lnTo>
                  <a:pt x="836" y="31"/>
                </a:lnTo>
                <a:lnTo>
                  <a:pt x="845" y="35"/>
                </a:lnTo>
                <a:lnTo>
                  <a:pt x="853" y="39"/>
                </a:lnTo>
                <a:lnTo>
                  <a:pt x="859" y="44"/>
                </a:lnTo>
                <a:lnTo>
                  <a:pt x="864" y="51"/>
                </a:lnTo>
                <a:lnTo>
                  <a:pt x="869" y="58"/>
                </a:lnTo>
                <a:lnTo>
                  <a:pt x="872" y="67"/>
                </a:lnTo>
                <a:lnTo>
                  <a:pt x="873" y="76"/>
                </a:lnTo>
                <a:lnTo>
                  <a:pt x="872" y="85"/>
                </a:lnTo>
                <a:lnTo>
                  <a:pt x="869" y="94"/>
                </a:lnTo>
                <a:lnTo>
                  <a:pt x="865" y="101"/>
                </a:lnTo>
                <a:lnTo>
                  <a:pt x="859" y="107"/>
                </a:lnTo>
                <a:lnTo>
                  <a:pt x="853" y="113"/>
                </a:lnTo>
                <a:lnTo>
                  <a:pt x="845" y="117"/>
                </a:lnTo>
                <a:lnTo>
                  <a:pt x="836" y="120"/>
                </a:lnTo>
                <a:lnTo>
                  <a:pt x="828" y="121"/>
                </a:lnTo>
                <a:lnTo>
                  <a:pt x="818" y="120"/>
                </a:lnTo>
                <a:lnTo>
                  <a:pt x="810" y="117"/>
                </a:lnTo>
                <a:lnTo>
                  <a:pt x="802" y="113"/>
                </a:lnTo>
                <a:lnTo>
                  <a:pt x="796" y="107"/>
                </a:lnTo>
                <a:lnTo>
                  <a:pt x="790" y="101"/>
                </a:lnTo>
                <a:lnTo>
                  <a:pt x="786" y="94"/>
                </a:lnTo>
                <a:lnTo>
                  <a:pt x="783" y="85"/>
                </a:lnTo>
                <a:lnTo>
                  <a:pt x="783" y="76"/>
                </a:lnTo>
                <a:lnTo>
                  <a:pt x="783" y="67"/>
                </a:lnTo>
                <a:lnTo>
                  <a:pt x="786" y="58"/>
                </a:lnTo>
                <a:lnTo>
                  <a:pt x="790" y="51"/>
                </a:lnTo>
                <a:lnTo>
                  <a:pt x="796" y="44"/>
                </a:lnTo>
                <a:lnTo>
                  <a:pt x="802" y="39"/>
                </a:lnTo>
                <a:lnTo>
                  <a:pt x="810" y="35"/>
                </a:lnTo>
                <a:lnTo>
                  <a:pt x="818" y="31"/>
                </a:lnTo>
                <a:lnTo>
                  <a:pt x="828" y="30"/>
                </a:lnTo>
                <a:lnTo>
                  <a:pt x="828" y="30"/>
                </a:lnTo>
                <a:close/>
                <a:moveTo>
                  <a:pt x="572" y="828"/>
                </a:moveTo>
                <a:lnTo>
                  <a:pt x="570" y="838"/>
                </a:lnTo>
                <a:lnTo>
                  <a:pt x="568" y="846"/>
                </a:lnTo>
                <a:lnTo>
                  <a:pt x="564" y="854"/>
                </a:lnTo>
                <a:lnTo>
                  <a:pt x="559" y="860"/>
                </a:lnTo>
                <a:lnTo>
                  <a:pt x="551" y="866"/>
                </a:lnTo>
                <a:lnTo>
                  <a:pt x="544" y="870"/>
                </a:lnTo>
                <a:lnTo>
                  <a:pt x="535" y="873"/>
                </a:lnTo>
                <a:lnTo>
                  <a:pt x="526" y="873"/>
                </a:lnTo>
                <a:lnTo>
                  <a:pt x="517" y="873"/>
                </a:lnTo>
                <a:lnTo>
                  <a:pt x="509" y="870"/>
                </a:lnTo>
                <a:lnTo>
                  <a:pt x="501" y="866"/>
                </a:lnTo>
                <a:lnTo>
                  <a:pt x="494" y="860"/>
                </a:lnTo>
                <a:lnTo>
                  <a:pt x="489" y="854"/>
                </a:lnTo>
                <a:lnTo>
                  <a:pt x="485" y="846"/>
                </a:lnTo>
                <a:lnTo>
                  <a:pt x="482" y="838"/>
                </a:lnTo>
                <a:lnTo>
                  <a:pt x="481" y="828"/>
                </a:lnTo>
                <a:lnTo>
                  <a:pt x="482" y="819"/>
                </a:lnTo>
                <a:lnTo>
                  <a:pt x="485" y="811"/>
                </a:lnTo>
                <a:lnTo>
                  <a:pt x="489" y="803"/>
                </a:lnTo>
                <a:lnTo>
                  <a:pt x="494" y="796"/>
                </a:lnTo>
                <a:lnTo>
                  <a:pt x="501" y="791"/>
                </a:lnTo>
                <a:lnTo>
                  <a:pt x="509" y="786"/>
                </a:lnTo>
                <a:lnTo>
                  <a:pt x="517" y="784"/>
                </a:lnTo>
                <a:lnTo>
                  <a:pt x="526" y="783"/>
                </a:lnTo>
                <a:lnTo>
                  <a:pt x="535" y="784"/>
                </a:lnTo>
                <a:lnTo>
                  <a:pt x="544" y="787"/>
                </a:lnTo>
                <a:lnTo>
                  <a:pt x="551" y="791"/>
                </a:lnTo>
                <a:lnTo>
                  <a:pt x="559" y="797"/>
                </a:lnTo>
                <a:lnTo>
                  <a:pt x="564" y="803"/>
                </a:lnTo>
                <a:lnTo>
                  <a:pt x="568" y="811"/>
                </a:lnTo>
                <a:lnTo>
                  <a:pt x="570" y="819"/>
                </a:lnTo>
                <a:lnTo>
                  <a:pt x="572" y="828"/>
                </a:lnTo>
                <a:close/>
                <a:moveTo>
                  <a:pt x="75" y="257"/>
                </a:moveTo>
                <a:lnTo>
                  <a:pt x="65" y="255"/>
                </a:lnTo>
                <a:lnTo>
                  <a:pt x="58" y="253"/>
                </a:lnTo>
                <a:lnTo>
                  <a:pt x="49" y="249"/>
                </a:lnTo>
                <a:lnTo>
                  <a:pt x="43" y="244"/>
                </a:lnTo>
                <a:lnTo>
                  <a:pt x="37" y="236"/>
                </a:lnTo>
                <a:lnTo>
                  <a:pt x="33" y="229"/>
                </a:lnTo>
                <a:lnTo>
                  <a:pt x="31" y="220"/>
                </a:lnTo>
                <a:lnTo>
                  <a:pt x="30" y="211"/>
                </a:lnTo>
                <a:lnTo>
                  <a:pt x="31" y="202"/>
                </a:lnTo>
                <a:lnTo>
                  <a:pt x="33" y="193"/>
                </a:lnTo>
                <a:lnTo>
                  <a:pt x="37" y="186"/>
                </a:lnTo>
                <a:lnTo>
                  <a:pt x="43" y="179"/>
                </a:lnTo>
                <a:lnTo>
                  <a:pt x="49" y="174"/>
                </a:lnTo>
                <a:lnTo>
                  <a:pt x="58" y="170"/>
                </a:lnTo>
                <a:lnTo>
                  <a:pt x="65" y="168"/>
                </a:lnTo>
                <a:lnTo>
                  <a:pt x="75" y="166"/>
                </a:lnTo>
                <a:lnTo>
                  <a:pt x="84" y="168"/>
                </a:lnTo>
                <a:lnTo>
                  <a:pt x="92" y="170"/>
                </a:lnTo>
                <a:lnTo>
                  <a:pt x="100" y="174"/>
                </a:lnTo>
                <a:lnTo>
                  <a:pt x="107" y="179"/>
                </a:lnTo>
                <a:lnTo>
                  <a:pt x="112" y="186"/>
                </a:lnTo>
                <a:lnTo>
                  <a:pt x="117" y="193"/>
                </a:lnTo>
                <a:lnTo>
                  <a:pt x="119" y="202"/>
                </a:lnTo>
                <a:lnTo>
                  <a:pt x="120" y="211"/>
                </a:lnTo>
                <a:lnTo>
                  <a:pt x="119" y="220"/>
                </a:lnTo>
                <a:lnTo>
                  <a:pt x="117" y="229"/>
                </a:lnTo>
                <a:lnTo>
                  <a:pt x="112" y="236"/>
                </a:lnTo>
                <a:lnTo>
                  <a:pt x="107" y="244"/>
                </a:lnTo>
                <a:lnTo>
                  <a:pt x="100" y="249"/>
                </a:lnTo>
                <a:lnTo>
                  <a:pt x="92" y="253"/>
                </a:lnTo>
                <a:lnTo>
                  <a:pt x="84" y="255"/>
                </a:lnTo>
                <a:lnTo>
                  <a:pt x="75" y="257"/>
                </a:lnTo>
                <a:close/>
                <a:moveTo>
                  <a:pt x="828" y="467"/>
                </a:moveTo>
                <a:lnTo>
                  <a:pt x="818" y="468"/>
                </a:lnTo>
                <a:lnTo>
                  <a:pt x="810" y="469"/>
                </a:lnTo>
                <a:lnTo>
                  <a:pt x="801" y="472"/>
                </a:lnTo>
                <a:lnTo>
                  <a:pt x="794" y="475"/>
                </a:lnTo>
                <a:lnTo>
                  <a:pt x="786" y="480"/>
                </a:lnTo>
                <a:lnTo>
                  <a:pt x="780" y="485"/>
                </a:lnTo>
                <a:lnTo>
                  <a:pt x="773" y="490"/>
                </a:lnTo>
                <a:lnTo>
                  <a:pt x="768" y="498"/>
                </a:lnTo>
                <a:lnTo>
                  <a:pt x="667" y="450"/>
                </a:lnTo>
                <a:lnTo>
                  <a:pt x="671" y="436"/>
                </a:lnTo>
                <a:lnTo>
                  <a:pt x="674" y="422"/>
                </a:lnTo>
                <a:lnTo>
                  <a:pt x="677" y="407"/>
                </a:lnTo>
                <a:lnTo>
                  <a:pt x="677" y="392"/>
                </a:lnTo>
                <a:lnTo>
                  <a:pt x="677" y="377"/>
                </a:lnTo>
                <a:lnTo>
                  <a:pt x="674" y="363"/>
                </a:lnTo>
                <a:lnTo>
                  <a:pt x="671" y="349"/>
                </a:lnTo>
                <a:lnTo>
                  <a:pt x="667" y="335"/>
                </a:lnTo>
                <a:lnTo>
                  <a:pt x="662" y="322"/>
                </a:lnTo>
                <a:lnTo>
                  <a:pt x="654" y="309"/>
                </a:lnTo>
                <a:lnTo>
                  <a:pt x="647" y="297"/>
                </a:lnTo>
                <a:lnTo>
                  <a:pt x="638" y="285"/>
                </a:lnTo>
                <a:lnTo>
                  <a:pt x="786" y="139"/>
                </a:lnTo>
                <a:lnTo>
                  <a:pt x="796" y="144"/>
                </a:lnTo>
                <a:lnTo>
                  <a:pt x="805" y="148"/>
                </a:lnTo>
                <a:lnTo>
                  <a:pt x="816" y="150"/>
                </a:lnTo>
                <a:lnTo>
                  <a:pt x="828" y="151"/>
                </a:lnTo>
                <a:lnTo>
                  <a:pt x="835" y="150"/>
                </a:lnTo>
                <a:lnTo>
                  <a:pt x="843" y="149"/>
                </a:lnTo>
                <a:lnTo>
                  <a:pt x="849" y="148"/>
                </a:lnTo>
                <a:lnTo>
                  <a:pt x="857" y="145"/>
                </a:lnTo>
                <a:lnTo>
                  <a:pt x="863" y="142"/>
                </a:lnTo>
                <a:lnTo>
                  <a:pt x="870" y="139"/>
                </a:lnTo>
                <a:lnTo>
                  <a:pt x="875" y="134"/>
                </a:lnTo>
                <a:lnTo>
                  <a:pt x="880" y="129"/>
                </a:lnTo>
                <a:lnTo>
                  <a:pt x="886" y="124"/>
                </a:lnTo>
                <a:lnTo>
                  <a:pt x="890" y="118"/>
                </a:lnTo>
                <a:lnTo>
                  <a:pt x="893" y="112"/>
                </a:lnTo>
                <a:lnTo>
                  <a:pt x="896" y="105"/>
                </a:lnTo>
                <a:lnTo>
                  <a:pt x="900" y="98"/>
                </a:lnTo>
                <a:lnTo>
                  <a:pt x="901" y="91"/>
                </a:lnTo>
                <a:lnTo>
                  <a:pt x="902" y="84"/>
                </a:lnTo>
                <a:lnTo>
                  <a:pt x="903" y="76"/>
                </a:lnTo>
                <a:lnTo>
                  <a:pt x="902" y="68"/>
                </a:lnTo>
                <a:lnTo>
                  <a:pt x="901" y="60"/>
                </a:lnTo>
                <a:lnTo>
                  <a:pt x="900" y="54"/>
                </a:lnTo>
                <a:lnTo>
                  <a:pt x="896" y="46"/>
                </a:lnTo>
                <a:lnTo>
                  <a:pt x="893" y="40"/>
                </a:lnTo>
                <a:lnTo>
                  <a:pt x="890" y="33"/>
                </a:lnTo>
                <a:lnTo>
                  <a:pt x="886" y="28"/>
                </a:lnTo>
                <a:lnTo>
                  <a:pt x="880" y="23"/>
                </a:lnTo>
                <a:lnTo>
                  <a:pt x="875" y="17"/>
                </a:lnTo>
                <a:lnTo>
                  <a:pt x="870" y="13"/>
                </a:lnTo>
                <a:lnTo>
                  <a:pt x="863" y="10"/>
                </a:lnTo>
                <a:lnTo>
                  <a:pt x="857" y="7"/>
                </a:lnTo>
                <a:lnTo>
                  <a:pt x="849" y="5"/>
                </a:lnTo>
                <a:lnTo>
                  <a:pt x="843" y="2"/>
                </a:lnTo>
                <a:lnTo>
                  <a:pt x="835" y="1"/>
                </a:lnTo>
                <a:lnTo>
                  <a:pt x="828" y="0"/>
                </a:lnTo>
                <a:lnTo>
                  <a:pt x="819" y="1"/>
                </a:lnTo>
                <a:lnTo>
                  <a:pt x="812" y="2"/>
                </a:lnTo>
                <a:lnTo>
                  <a:pt x="805" y="5"/>
                </a:lnTo>
                <a:lnTo>
                  <a:pt x="798" y="7"/>
                </a:lnTo>
                <a:lnTo>
                  <a:pt x="791" y="10"/>
                </a:lnTo>
                <a:lnTo>
                  <a:pt x="785" y="13"/>
                </a:lnTo>
                <a:lnTo>
                  <a:pt x="780" y="17"/>
                </a:lnTo>
                <a:lnTo>
                  <a:pt x="774" y="23"/>
                </a:lnTo>
                <a:lnTo>
                  <a:pt x="769" y="28"/>
                </a:lnTo>
                <a:lnTo>
                  <a:pt x="765" y="33"/>
                </a:lnTo>
                <a:lnTo>
                  <a:pt x="761" y="40"/>
                </a:lnTo>
                <a:lnTo>
                  <a:pt x="758" y="46"/>
                </a:lnTo>
                <a:lnTo>
                  <a:pt x="756" y="54"/>
                </a:lnTo>
                <a:lnTo>
                  <a:pt x="754" y="60"/>
                </a:lnTo>
                <a:lnTo>
                  <a:pt x="753" y="68"/>
                </a:lnTo>
                <a:lnTo>
                  <a:pt x="752" y="76"/>
                </a:lnTo>
                <a:lnTo>
                  <a:pt x="753" y="87"/>
                </a:lnTo>
                <a:lnTo>
                  <a:pt x="756" y="98"/>
                </a:lnTo>
                <a:lnTo>
                  <a:pt x="759" y="107"/>
                </a:lnTo>
                <a:lnTo>
                  <a:pt x="765" y="117"/>
                </a:lnTo>
                <a:lnTo>
                  <a:pt x="618" y="265"/>
                </a:lnTo>
                <a:lnTo>
                  <a:pt x="606" y="257"/>
                </a:lnTo>
                <a:lnTo>
                  <a:pt x="594" y="249"/>
                </a:lnTo>
                <a:lnTo>
                  <a:pt x="581" y="243"/>
                </a:lnTo>
                <a:lnTo>
                  <a:pt x="568" y="236"/>
                </a:lnTo>
                <a:lnTo>
                  <a:pt x="554" y="232"/>
                </a:lnTo>
                <a:lnTo>
                  <a:pt x="540" y="229"/>
                </a:lnTo>
                <a:lnTo>
                  <a:pt x="526" y="228"/>
                </a:lnTo>
                <a:lnTo>
                  <a:pt x="511" y="226"/>
                </a:lnTo>
                <a:lnTo>
                  <a:pt x="500" y="226"/>
                </a:lnTo>
                <a:lnTo>
                  <a:pt x="488" y="228"/>
                </a:lnTo>
                <a:lnTo>
                  <a:pt x="476" y="230"/>
                </a:lnTo>
                <a:lnTo>
                  <a:pt x="465" y="233"/>
                </a:lnTo>
                <a:lnTo>
                  <a:pt x="455" y="236"/>
                </a:lnTo>
                <a:lnTo>
                  <a:pt x="444" y="240"/>
                </a:lnTo>
                <a:lnTo>
                  <a:pt x="434" y="246"/>
                </a:lnTo>
                <a:lnTo>
                  <a:pt x="425" y="251"/>
                </a:lnTo>
                <a:lnTo>
                  <a:pt x="415" y="258"/>
                </a:lnTo>
                <a:lnTo>
                  <a:pt x="406" y="264"/>
                </a:lnTo>
                <a:lnTo>
                  <a:pt x="399" y="272"/>
                </a:lnTo>
                <a:lnTo>
                  <a:pt x="390" y="279"/>
                </a:lnTo>
                <a:lnTo>
                  <a:pt x="383" y="288"/>
                </a:lnTo>
                <a:lnTo>
                  <a:pt x="376" y="296"/>
                </a:lnTo>
                <a:lnTo>
                  <a:pt x="370" y="306"/>
                </a:lnTo>
                <a:lnTo>
                  <a:pt x="365" y="315"/>
                </a:lnTo>
                <a:lnTo>
                  <a:pt x="149" y="225"/>
                </a:lnTo>
                <a:lnTo>
                  <a:pt x="150" y="219"/>
                </a:lnTo>
                <a:lnTo>
                  <a:pt x="150" y="211"/>
                </a:lnTo>
                <a:lnTo>
                  <a:pt x="150" y="204"/>
                </a:lnTo>
                <a:lnTo>
                  <a:pt x="149" y="196"/>
                </a:lnTo>
                <a:lnTo>
                  <a:pt x="147" y="189"/>
                </a:lnTo>
                <a:lnTo>
                  <a:pt x="145" y="183"/>
                </a:lnTo>
                <a:lnTo>
                  <a:pt x="141" y="175"/>
                </a:lnTo>
                <a:lnTo>
                  <a:pt x="137" y="170"/>
                </a:lnTo>
                <a:lnTo>
                  <a:pt x="133" y="163"/>
                </a:lnTo>
                <a:lnTo>
                  <a:pt x="127" y="158"/>
                </a:lnTo>
                <a:lnTo>
                  <a:pt x="122" y="154"/>
                </a:lnTo>
                <a:lnTo>
                  <a:pt x="117" y="149"/>
                </a:lnTo>
                <a:lnTo>
                  <a:pt x="110" y="145"/>
                </a:lnTo>
                <a:lnTo>
                  <a:pt x="104" y="142"/>
                </a:lnTo>
                <a:lnTo>
                  <a:pt x="97" y="140"/>
                </a:lnTo>
                <a:lnTo>
                  <a:pt x="90" y="137"/>
                </a:lnTo>
                <a:lnTo>
                  <a:pt x="82" y="136"/>
                </a:lnTo>
                <a:lnTo>
                  <a:pt x="75" y="136"/>
                </a:lnTo>
                <a:lnTo>
                  <a:pt x="67" y="136"/>
                </a:lnTo>
                <a:lnTo>
                  <a:pt x="60" y="137"/>
                </a:lnTo>
                <a:lnTo>
                  <a:pt x="52" y="140"/>
                </a:lnTo>
                <a:lnTo>
                  <a:pt x="46" y="142"/>
                </a:lnTo>
                <a:lnTo>
                  <a:pt x="38" y="145"/>
                </a:lnTo>
                <a:lnTo>
                  <a:pt x="33" y="149"/>
                </a:lnTo>
                <a:lnTo>
                  <a:pt x="27" y="154"/>
                </a:lnTo>
                <a:lnTo>
                  <a:pt x="21" y="158"/>
                </a:lnTo>
                <a:lnTo>
                  <a:pt x="17" y="163"/>
                </a:lnTo>
                <a:lnTo>
                  <a:pt x="13" y="170"/>
                </a:lnTo>
                <a:lnTo>
                  <a:pt x="8" y="175"/>
                </a:lnTo>
                <a:lnTo>
                  <a:pt x="5" y="183"/>
                </a:lnTo>
                <a:lnTo>
                  <a:pt x="3" y="189"/>
                </a:lnTo>
                <a:lnTo>
                  <a:pt x="1" y="196"/>
                </a:lnTo>
                <a:lnTo>
                  <a:pt x="0" y="204"/>
                </a:lnTo>
                <a:lnTo>
                  <a:pt x="0" y="211"/>
                </a:lnTo>
                <a:lnTo>
                  <a:pt x="0" y="219"/>
                </a:lnTo>
                <a:lnTo>
                  <a:pt x="1" y="226"/>
                </a:lnTo>
                <a:lnTo>
                  <a:pt x="3" y="234"/>
                </a:lnTo>
                <a:lnTo>
                  <a:pt x="5" y="240"/>
                </a:lnTo>
                <a:lnTo>
                  <a:pt x="8" y="247"/>
                </a:lnTo>
                <a:lnTo>
                  <a:pt x="13" y="253"/>
                </a:lnTo>
                <a:lnTo>
                  <a:pt x="17" y="259"/>
                </a:lnTo>
                <a:lnTo>
                  <a:pt x="21" y="264"/>
                </a:lnTo>
                <a:lnTo>
                  <a:pt x="27" y="269"/>
                </a:lnTo>
                <a:lnTo>
                  <a:pt x="33" y="274"/>
                </a:lnTo>
                <a:lnTo>
                  <a:pt x="38" y="278"/>
                </a:lnTo>
                <a:lnTo>
                  <a:pt x="46" y="281"/>
                </a:lnTo>
                <a:lnTo>
                  <a:pt x="52" y="283"/>
                </a:lnTo>
                <a:lnTo>
                  <a:pt x="60" y="285"/>
                </a:lnTo>
                <a:lnTo>
                  <a:pt x="67" y="287"/>
                </a:lnTo>
                <a:lnTo>
                  <a:pt x="75" y="287"/>
                </a:lnTo>
                <a:lnTo>
                  <a:pt x="85" y="285"/>
                </a:lnTo>
                <a:lnTo>
                  <a:pt x="93" y="284"/>
                </a:lnTo>
                <a:lnTo>
                  <a:pt x="103" y="281"/>
                </a:lnTo>
                <a:lnTo>
                  <a:pt x="110" y="278"/>
                </a:lnTo>
                <a:lnTo>
                  <a:pt x="118" y="273"/>
                </a:lnTo>
                <a:lnTo>
                  <a:pt x="125" y="267"/>
                </a:lnTo>
                <a:lnTo>
                  <a:pt x="132" y="261"/>
                </a:lnTo>
                <a:lnTo>
                  <a:pt x="137" y="253"/>
                </a:lnTo>
                <a:lnTo>
                  <a:pt x="353" y="342"/>
                </a:lnTo>
                <a:lnTo>
                  <a:pt x="350" y="354"/>
                </a:lnTo>
                <a:lnTo>
                  <a:pt x="347" y="367"/>
                </a:lnTo>
                <a:lnTo>
                  <a:pt x="346" y="379"/>
                </a:lnTo>
                <a:lnTo>
                  <a:pt x="345" y="392"/>
                </a:lnTo>
                <a:lnTo>
                  <a:pt x="346" y="407"/>
                </a:lnTo>
                <a:lnTo>
                  <a:pt x="348" y="422"/>
                </a:lnTo>
                <a:lnTo>
                  <a:pt x="352" y="436"/>
                </a:lnTo>
                <a:lnTo>
                  <a:pt x="356" y="450"/>
                </a:lnTo>
                <a:lnTo>
                  <a:pt x="361" y="462"/>
                </a:lnTo>
                <a:lnTo>
                  <a:pt x="368" y="474"/>
                </a:lnTo>
                <a:lnTo>
                  <a:pt x="375" y="487"/>
                </a:lnTo>
                <a:lnTo>
                  <a:pt x="384" y="498"/>
                </a:lnTo>
                <a:lnTo>
                  <a:pt x="116" y="766"/>
                </a:lnTo>
                <a:lnTo>
                  <a:pt x="107" y="761"/>
                </a:lnTo>
                <a:lnTo>
                  <a:pt x="96" y="756"/>
                </a:lnTo>
                <a:lnTo>
                  <a:pt x="86" y="754"/>
                </a:lnTo>
                <a:lnTo>
                  <a:pt x="75" y="753"/>
                </a:lnTo>
                <a:lnTo>
                  <a:pt x="67" y="753"/>
                </a:lnTo>
                <a:lnTo>
                  <a:pt x="60" y="755"/>
                </a:lnTo>
                <a:lnTo>
                  <a:pt x="52" y="756"/>
                </a:lnTo>
                <a:lnTo>
                  <a:pt x="46" y="759"/>
                </a:lnTo>
                <a:lnTo>
                  <a:pt x="38" y="763"/>
                </a:lnTo>
                <a:lnTo>
                  <a:pt x="33" y="766"/>
                </a:lnTo>
                <a:lnTo>
                  <a:pt x="27" y="770"/>
                </a:lnTo>
                <a:lnTo>
                  <a:pt x="21" y="776"/>
                </a:lnTo>
                <a:lnTo>
                  <a:pt x="17" y="781"/>
                </a:lnTo>
                <a:lnTo>
                  <a:pt x="13" y="786"/>
                </a:lnTo>
                <a:lnTo>
                  <a:pt x="8" y="793"/>
                </a:lnTo>
                <a:lnTo>
                  <a:pt x="5" y="799"/>
                </a:lnTo>
                <a:lnTo>
                  <a:pt x="3" y="806"/>
                </a:lnTo>
                <a:lnTo>
                  <a:pt x="1" y="813"/>
                </a:lnTo>
                <a:lnTo>
                  <a:pt x="0" y="821"/>
                </a:lnTo>
                <a:lnTo>
                  <a:pt x="0" y="828"/>
                </a:lnTo>
                <a:lnTo>
                  <a:pt x="0" y="836"/>
                </a:lnTo>
                <a:lnTo>
                  <a:pt x="1" y="843"/>
                </a:lnTo>
                <a:lnTo>
                  <a:pt x="3" y="851"/>
                </a:lnTo>
                <a:lnTo>
                  <a:pt x="5" y="858"/>
                </a:lnTo>
                <a:lnTo>
                  <a:pt x="8" y="865"/>
                </a:lnTo>
                <a:lnTo>
                  <a:pt x="13" y="870"/>
                </a:lnTo>
                <a:lnTo>
                  <a:pt x="17" y="876"/>
                </a:lnTo>
                <a:lnTo>
                  <a:pt x="21" y="882"/>
                </a:lnTo>
                <a:lnTo>
                  <a:pt x="27" y="886"/>
                </a:lnTo>
                <a:lnTo>
                  <a:pt x="33" y="890"/>
                </a:lnTo>
                <a:lnTo>
                  <a:pt x="38" y="895"/>
                </a:lnTo>
                <a:lnTo>
                  <a:pt x="46" y="898"/>
                </a:lnTo>
                <a:lnTo>
                  <a:pt x="52" y="900"/>
                </a:lnTo>
                <a:lnTo>
                  <a:pt x="60" y="902"/>
                </a:lnTo>
                <a:lnTo>
                  <a:pt x="67" y="903"/>
                </a:lnTo>
                <a:lnTo>
                  <a:pt x="75" y="903"/>
                </a:lnTo>
                <a:lnTo>
                  <a:pt x="82" y="903"/>
                </a:lnTo>
                <a:lnTo>
                  <a:pt x="90" y="902"/>
                </a:lnTo>
                <a:lnTo>
                  <a:pt x="97" y="900"/>
                </a:lnTo>
                <a:lnTo>
                  <a:pt x="104" y="898"/>
                </a:lnTo>
                <a:lnTo>
                  <a:pt x="110" y="895"/>
                </a:lnTo>
                <a:lnTo>
                  <a:pt x="117" y="890"/>
                </a:lnTo>
                <a:lnTo>
                  <a:pt x="122" y="886"/>
                </a:lnTo>
                <a:lnTo>
                  <a:pt x="127" y="882"/>
                </a:lnTo>
                <a:lnTo>
                  <a:pt x="133" y="876"/>
                </a:lnTo>
                <a:lnTo>
                  <a:pt x="137" y="870"/>
                </a:lnTo>
                <a:lnTo>
                  <a:pt x="141" y="865"/>
                </a:lnTo>
                <a:lnTo>
                  <a:pt x="145" y="858"/>
                </a:lnTo>
                <a:lnTo>
                  <a:pt x="147" y="851"/>
                </a:lnTo>
                <a:lnTo>
                  <a:pt x="149" y="843"/>
                </a:lnTo>
                <a:lnTo>
                  <a:pt x="150" y="836"/>
                </a:lnTo>
                <a:lnTo>
                  <a:pt x="150" y="828"/>
                </a:lnTo>
                <a:lnTo>
                  <a:pt x="149" y="817"/>
                </a:lnTo>
                <a:lnTo>
                  <a:pt x="147" y="807"/>
                </a:lnTo>
                <a:lnTo>
                  <a:pt x="143" y="796"/>
                </a:lnTo>
                <a:lnTo>
                  <a:pt x="137" y="787"/>
                </a:lnTo>
                <a:lnTo>
                  <a:pt x="405" y="519"/>
                </a:lnTo>
                <a:lnTo>
                  <a:pt x="417" y="528"/>
                </a:lnTo>
                <a:lnTo>
                  <a:pt x="429" y="535"/>
                </a:lnTo>
                <a:lnTo>
                  <a:pt x="441" y="542"/>
                </a:lnTo>
                <a:lnTo>
                  <a:pt x="454" y="547"/>
                </a:lnTo>
                <a:lnTo>
                  <a:pt x="467" y="551"/>
                </a:lnTo>
                <a:lnTo>
                  <a:pt x="481" y="555"/>
                </a:lnTo>
                <a:lnTo>
                  <a:pt x="496" y="557"/>
                </a:lnTo>
                <a:lnTo>
                  <a:pt x="511" y="558"/>
                </a:lnTo>
                <a:lnTo>
                  <a:pt x="511" y="754"/>
                </a:lnTo>
                <a:lnTo>
                  <a:pt x="505" y="756"/>
                </a:lnTo>
                <a:lnTo>
                  <a:pt x="499" y="758"/>
                </a:lnTo>
                <a:lnTo>
                  <a:pt x="493" y="761"/>
                </a:lnTo>
                <a:lnTo>
                  <a:pt x="488" y="764"/>
                </a:lnTo>
                <a:lnTo>
                  <a:pt x="477" y="771"/>
                </a:lnTo>
                <a:lnTo>
                  <a:pt x="469" y="781"/>
                </a:lnTo>
                <a:lnTo>
                  <a:pt x="464" y="785"/>
                </a:lnTo>
                <a:lnTo>
                  <a:pt x="461" y="791"/>
                </a:lnTo>
                <a:lnTo>
                  <a:pt x="458" y="797"/>
                </a:lnTo>
                <a:lnTo>
                  <a:pt x="456" y="802"/>
                </a:lnTo>
                <a:lnTo>
                  <a:pt x="454" y="809"/>
                </a:lnTo>
                <a:lnTo>
                  <a:pt x="452" y="815"/>
                </a:lnTo>
                <a:lnTo>
                  <a:pt x="451" y="822"/>
                </a:lnTo>
                <a:lnTo>
                  <a:pt x="451" y="828"/>
                </a:lnTo>
                <a:lnTo>
                  <a:pt x="451" y="836"/>
                </a:lnTo>
                <a:lnTo>
                  <a:pt x="452" y="843"/>
                </a:lnTo>
                <a:lnTo>
                  <a:pt x="455" y="851"/>
                </a:lnTo>
                <a:lnTo>
                  <a:pt x="457" y="858"/>
                </a:lnTo>
                <a:lnTo>
                  <a:pt x="460" y="865"/>
                </a:lnTo>
                <a:lnTo>
                  <a:pt x="464" y="870"/>
                </a:lnTo>
                <a:lnTo>
                  <a:pt x="469" y="876"/>
                </a:lnTo>
                <a:lnTo>
                  <a:pt x="473" y="882"/>
                </a:lnTo>
                <a:lnTo>
                  <a:pt x="478" y="886"/>
                </a:lnTo>
                <a:lnTo>
                  <a:pt x="485" y="890"/>
                </a:lnTo>
                <a:lnTo>
                  <a:pt x="490" y="895"/>
                </a:lnTo>
                <a:lnTo>
                  <a:pt x="498" y="898"/>
                </a:lnTo>
                <a:lnTo>
                  <a:pt x="504" y="900"/>
                </a:lnTo>
                <a:lnTo>
                  <a:pt x="511" y="902"/>
                </a:lnTo>
                <a:lnTo>
                  <a:pt x="519" y="903"/>
                </a:lnTo>
                <a:lnTo>
                  <a:pt x="526" y="903"/>
                </a:lnTo>
                <a:lnTo>
                  <a:pt x="534" y="903"/>
                </a:lnTo>
                <a:lnTo>
                  <a:pt x="541" y="902"/>
                </a:lnTo>
                <a:lnTo>
                  <a:pt x="549" y="900"/>
                </a:lnTo>
                <a:lnTo>
                  <a:pt x="555" y="898"/>
                </a:lnTo>
                <a:lnTo>
                  <a:pt x="562" y="895"/>
                </a:lnTo>
                <a:lnTo>
                  <a:pt x="568" y="890"/>
                </a:lnTo>
                <a:lnTo>
                  <a:pt x="575" y="886"/>
                </a:lnTo>
                <a:lnTo>
                  <a:pt x="580" y="882"/>
                </a:lnTo>
                <a:lnTo>
                  <a:pt x="584" y="876"/>
                </a:lnTo>
                <a:lnTo>
                  <a:pt x="589" y="870"/>
                </a:lnTo>
                <a:lnTo>
                  <a:pt x="593" y="865"/>
                </a:lnTo>
                <a:lnTo>
                  <a:pt x="596" y="858"/>
                </a:lnTo>
                <a:lnTo>
                  <a:pt x="598" y="851"/>
                </a:lnTo>
                <a:lnTo>
                  <a:pt x="600" y="843"/>
                </a:lnTo>
                <a:lnTo>
                  <a:pt x="602" y="836"/>
                </a:lnTo>
                <a:lnTo>
                  <a:pt x="602" y="828"/>
                </a:lnTo>
                <a:lnTo>
                  <a:pt x="602" y="822"/>
                </a:lnTo>
                <a:lnTo>
                  <a:pt x="600" y="815"/>
                </a:lnTo>
                <a:lnTo>
                  <a:pt x="599" y="809"/>
                </a:lnTo>
                <a:lnTo>
                  <a:pt x="597" y="802"/>
                </a:lnTo>
                <a:lnTo>
                  <a:pt x="595" y="797"/>
                </a:lnTo>
                <a:lnTo>
                  <a:pt x="592" y="791"/>
                </a:lnTo>
                <a:lnTo>
                  <a:pt x="589" y="785"/>
                </a:lnTo>
                <a:lnTo>
                  <a:pt x="584" y="781"/>
                </a:lnTo>
                <a:lnTo>
                  <a:pt x="576" y="771"/>
                </a:lnTo>
                <a:lnTo>
                  <a:pt x="565" y="764"/>
                </a:lnTo>
                <a:lnTo>
                  <a:pt x="560" y="761"/>
                </a:lnTo>
                <a:lnTo>
                  <a:pt x="554" y="758"/>
                </a:lnTo>
                <a:lnTo>
                  <a:pt x="548" y="756"/>
                </a:lnTo>
                <a:lnTo>
                  <a:pt x="541" y="755"/>
                </a:lnTo>
                <a:lnTo>
                  <a:pt x="541" y="555"/>
                </a:lnTo>
                <a:lnTo>
                  <a:pt x="559" y="550"/>
                </a:lnTo>
                <a:lnTo>
                  <a:pt x="576" y="544"/>
                </a:lnTo>
                <a:lnTo>
                  <a:pt x="592" y="536"/>
                </a:lnTo>
                <a:lnTo>
                  <a:pt x="606" y="527"/>
                </a:lnTo>
                <a:lnTo>
                  <a:pt x="620" y="516"/>
                </a:lnTo>
                <a:lnTo>
                  <a:pt x="633" y="504"/>
                </a:lnTo>
                <a:lnTo>
                  <a:pt x="643" y="490"/>
                </a:lnTo>
                <a:lnTo>
                  <a:pt x="653" y="476"/>
                </a:lnTo>
                <a:lnTo>
                  <a:pt x="755" y="525"/>
                </a:lnTo>
                <a:lnTo>
                  <a:pt x="753" y="533"/>
                </a:lnTo>
                <a:lnTo>
                  <a:pt x="752" y="543"/>
                </a:lnTo>
                <a:lnTo>
                  <a:pt x="753" y="550"/>
                </a:lnTo>
                <a:lnTo>
                  <a:pt x="754" y="558"/>
                </a:lnTo>
                <a:lnTo>
                  <a:pt x="756" y="564"/>
                </a:lnTo>
                <a:lnTo>
                  <a:pt x="758" y="572"/>
                </a:lnTo>
                <a:lnTo>
                  <a:pt x="761" y="578"/>
                </a:lnTo>
                <a:lnTo>
                  <a:pt x="765" y="585"/>
                </a:lnTo>
                <a:lnTo>
                  <a:pt x="769" y="590"/>
                </a:lnTo>
                <a:lnTo>
                  <a:pt x="774" y="595"/>
                </a:lnTo>
                <a:lnTo>
                  <a:pt x="780" y="601"/>
                </a:lnTo>
                <a:lnTo>
                  <a:pt x="785" y="605"/>
                </a:lnTo>
                <a:lnTo>
                  <a:pt x="791" y="608"/>
                </a:lnTo>
                <a:lnTo>
                  <a:pt x="798" y="611"/>
                </a:lnTo>
                <a:lnTo>
                  <a:pt x="805" y="615"/>
                </a:lnTo>
                <a:lnTo>
                  <a:pt x="812" y="616"/>
                </a:lnTo>
                <a:lnTo>
                  <a:pt x="819" y="617"/>
                </a:lnTo>
                <a:lnTo>
                  <a:pt x="828" y="618"/>
                </a:lnTo>
                <a:lnTo>
                  <a:pt x="835" y="617"/>
                </a:lnTo>
                <a:lnTo>
                  <a:pt x="843" y="616"/>
                </a:lnTo>
                <a:lnTo>
                  <a:pt x="849" y="615"/>
                </a:lnTo>
                <a:lnTo>
                  <a:pt x="857" y="611"/>
                </a:lnTo>
                <a:lnTo>
                  <a:pt x="863" y="608"/>
                </a:lnTo>
                <a:lnTo>
                  <a:pt x="870" y="605"/>
                </a:lnTo>
                <a:lnTo>
                  <a:pt x="875" y="601"/>
                </a:lnTo>
                <a:lnTo>
                  <a:pt x="880" y="595"/>
                </a:lnTo>
                <a:lnTo>
                  <a:pt x="886" y="590"/>
                </a:lnTo>
                <a:lnTo>
                  <a:pt x="890" y="585"/>
                </a:lnTo>
                <a:lnTo>
                  <a:pt x="893" y="578"/>
                </a:lnTo>
                <a:lnTo>
                  <a:pt x="896" y="572"/>
                </a:lnTo>
                <a:lnTo>
                  <a:pt x="900" y="564"/>
                </a:lnTo>
                <a:lnTo>
                  <a:pt x="901" y="558"/>
                </a:lnTo>
                <a:lnTo>
                  <a:pt x="902" y="550"/>
                </a:lnTo>
                <a:lnTo>
                  <a:pt x="903" y="543"/>
                </a:lnTo>
                <a:lnTo>
                  <a:pt x="902" y="534"/>
                </a:lnTo>
                <a:lnTo>
                  <a:pt x="901" y="528"/>
                </a:lnTo>
                <a:lnTo>
                  <a:pt x="900" y="520"/>
                </a:lnTo>
                <a:lnTo>
                  <a:pt x="896" y="513"/>
                </a:lnTo>
                <a:lnTo>
                  <a:pt x="893" y="506"/>
                </a:lnTo>
                <a:lnTo>
                  <a:pt x="890" y="500"/>
                </a:lnTo>
                <a:lnTo>
                  <a:pt x="886" y="495"/>
                </a:lnTo>
                <a:lnTo>
                  <a:pt x="880" y="489"/>
                </a:lnTo>
                <a:lnTo>
                  <a:pt x="875" y="484"/>
                </a:lnTo>
                <a:lnTo>
                  <a:pt x="870" y="480"/>
                </a:lnTo>
                <a:lnTo>
                  <a:pt x="863" y="476"/>
                </a:lnTo>
                <a:lnTo>
                  <a:pt x="857" y="473"/>
                </a:lnTo>
                <a:lnTo>
                  <a:pt x="849" y="471"/>
                </a:lnTo>
                <a:lnTo>
                  <a:pt x="843" y="469"/>
                </a:lnTo>
                <a:lnTo>
                  <a:pt x="835" y="468"/>
                </a:lnTo>
                <a:lnTo>
                  <a:pt x="828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972809" y="2466074"/>
            <a:ext cx="595682" cy="592334"/>
            <a:chOff x="5468938" y="1920875"/>
            <a:chExt cx="282575" cy="28098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2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90"/>
            <p:cNvSpPr/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1"/>
            <p:cNvSpPr/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7" name="Freeform 332"/>
          <p:cNvSpPr>
            <a:spLocks noEditPoints="1"/>
          </p:cNvSpPr>
          <p:nvPr/>
        </p:nvSpPr>
        <p:spPr bwMode="auto">
          <a:xfrm>
            <a:off x="4986125" y="2470803"/>
            <a:ext cx="2219750" cy="2219742"/>
          </a:xfrm>
          <a:custGeom>
            <a:avLst/>
            <a:gdLst>
              <a:gd name="T0" fmla="*/ 581 w 903"/>
              <a:gd name="T1" fmla="*/ 737 h 903"/>
              <a:gd name="T2" fmla="*/ 739 w 903"/>
              <a:gd name="T3" fmla="*/ 758 h 903"/>
              <a:gd name="T4" fmla="*/ 610 w 903"/>
              <a:gd name="T5" fmla="*/ 841 h 903"/>
              <a:gd name="T6" fmla="*/ 441 w 903"/>
              <a:gd name="T7" fmla="*/ 872 h 903"/>
              <a:gd name="T8" fmla="*/ 344 w 903"/>
              <a:gd name="T9" fmla="*/ 714 h 903"/>
              <a:gd name="T10" fmla="*/ 508 w 903"/>
              <a:gd name="T11" fmla="*/ 804 h 903"/>
              <a:gd name="T12" fmla="*/ 441 w 903"/>
              <a:gd name="T13" fmla="*/ 872 h 903"/>
              <a:gd name="T14" fmla="*/ 345 w 903"/>
              <a:gd name="T15" fmla="*/ 781 h 903"/>
              <a:gd name="T16" fmla="*/ 336 w 903"/>
              <a:gd name="T17" fmla="*/ 856 h 903"/>
              <a:gd name="T18" fmla="*/ 198 w 903"/>
              <a:gd name="T19" fmla="*/ 787 h 903"/>
              <a:gd name="T20" fmla="*/ 108 w 903"/>
              <a:gd name="T21" fmla="*/ 692 h 903"/>
              <a:gd name="T22" fmla="*/ 250 w 903"/>
              <a:gd name="T23" fmla="*/ 383 h 903"/>
              <a:gd name="T24" fmla="*/ 31 w 903"/>
              <a:gd name="T25" fmla="*/ 419 h 903"/>
              <a:gd name="T26" fmla="*/ 66 w 903"/>
              <a:gd name="T27" fmla="*/ 270 h 903"/>
              <a:gd name="T28" fmla="*/ 313 w 903"/>
              <a:gd name="T29" fmla="*/ 160 h 903"/>
              <a:gd name="T30" fmla="*/ 122 w 903"/>
              <a:gd name="T31" fmla="*/ 181 h 903"/>
              <a:gd name="T32" fmla="*/ 253 w 903"/>
              <a:gd name="T33" fmla="*/ 76 h 903"/>
              <a:gd name="T34" fmla="*/ 463 w 903"/>
              <a:gd name="T35" fmla="*/ 30 h 903"/>
              <a:gd name="T36" fmla="*/ 582 w 903"/>
              <a:gd name="T37" fmla="*/ 213 h 903"/>
              <a:gd name="T38" fmla="*/ 380 w 903"/>
              <a:gd name="T39" fmla="*/ 106 h 903"/>
              <a:gd name="T40" fmla="*/ 463 w 903"/>
              <a:gd name="T41" fmla="*/ 30 h 903"/>
              <a:gd name="T42" fmla="*/ 561 w 903"/>
              <a:gd name="T43" fmla="*/ 108 h 903"/>
              <a:gd name="T44" fmla="*/ 602 w 903"/>
              <a:gd name="T45" fmla="*/ 58 h 903"/>
              <a:gd name="T46" fmla="*/ 743 w 903"/>
              <a:gd name="T47" fmla="*/ 147 h 903"/>
              <a:gd name="T48" fmla="*/ 872 w 903"/>
              <a:gd name="T49" fmla="*/ 482 h 903"/>
              <a:gd name="T50" fmla="*/ 827 w 903"/>
              <a:gd name="T51" fmla="*/ 641 h 903"/>
              <a:gd name="T52" fmla="*/ 643 w 903"/>
              <a:gd name="T53" fmla="*/ 549 h 903"/>
              <a:gd name="T54" fmla="*/ 616 w 903"/>
              <a:gd name="T55" fmla="*/ 315 h 903"/>
              <a:gd name="T56" fmla="*/ 277 w 903"/>
              <a:gd name="T57" fmla="*/ 451 h 903"/>
              <a:gd name="T58" fmla="*/ 293 w 903"/>
              <a:gd name="T59" fmla="*/ 293 h 903"/>
              <a:gd name="T60" fmla="*/ 614 w 903"/>
              <a:gd name="T61" fmla="*/ 549 h 903"/>
              <a:gd name="T62" fmla="*/ 313 w 903"/>
              <a:gd name="T63" fmla="*/ 639 h 903"/>
              <a:gd name="T64" fmla="*/ 279 w 903"/>
              <a:gd name="T65" fmla="*/ 482 h 903"/>
              <a:gd name="T66" fmla="*/ 269 w 903"/>
              <a:gd name="T67" fmla="*/ 594 h 903"/>
              <a:gd name="T68" fmla="*/ 59 w 903"/>
              <a:gd name="T69" fmla="*/ 598 h 903"/>
              <a:gd name="T70" fmla="*/ 655 w 903"/>
              <a:gd name="T71" fmla="*/ 451 h 903"/>
              <a:gd name="T72" fmla="*/ 639 w 903"/>
              <a:gd name="T73" fmla="*/ 293 h 903"/>
              <a:gd name="T74" fmla="*/ 867 w 903"/>
              <a:gd name="T75" fmla="*/ 380 h 903"/>
              <a:gd name="T76" fmla="*/ 451 w 903"/>
              <a:gd name="T77" fmla="*/ 0 h 903"/>
              <a:gd name="T78" fmla="*/ 322 w 903"/>
              <a:gd name="T79" fmla="*/ 17 h 903"/>
              <a:gd name="T80" fmla="*/ 187 w 903"/>
              <a:gd name="T81" fmla="*/ 80 h 903"/>
              <a:gd name="T82" fmla="*/ 84 w 903"/>
              <a:gd name="T83" fmla="*/ 181 h 903"/>
              <a:gd name="T84" fmla="*/ 18 w 903"/>
              <a:gd name="T85" fmla="*/ 312 h 903"/>
              <a:gd name="T86" fmla="*/ 0 w 903"/>
              <a:gd name="T87" fmla="*/ 465 h 903"/>
              <a:gd name="T88" fmla="*/ 35 w 903"/>
              <a:gd name="T89" fmla="*/ 621 h 903"/>
              <a:gd name="T90" fmla="*/ 117 w 903"/>
              <a:gd name="T91" fmla="*/ 752 h 903"/>
              <a:gd name="T92" fmla="*/ 236 w 903"/>
              <a:gd name="T93" fmla="*/ 847 h 903"/>
              <a:gd name="T94" fmla="*/ 382 w 903"/>
              <a:gd name="T95" fmla="*/ 898 h 903"/>
              <a:gd name="T96" fmla="*/ 542 w 903"/>
              <a:gd name="T97" fmla="*/ 894 h 903"/>
              <a:gd name="T98" fmla="*/ 685 w 903"/>
              <a:gd name="T99" fmla="*/ 838 h 903"/>
              <a:gd name="T100" fmla="*/ 799 w 903"/>
              <a:gd name="T101" fmla="*/ 738 h 903"/>
              <a:gd name="T102" fmla="*/ 875 w 903"/>
              <a:gd name="T103" fmla="*/ 605 h 903"/>
              <a:gd name="T104" fmla="*/ 903 w 903"/>
              <a:gd name="T105" fmla="*/ 449 h 903"/>
              <a:gd name="T106" fmla="*/ 875 w 903"/>
              <a:gd name="T107" fmla="*/ 295 h 903"/>
              <a:gd name="T108" fmla="*/ 800 w 903"/>
              <a:gd name="T109" fmla="*/ 163 h 903"/>
              <a:gd name="T110" fmla="*/ 685 w 903"/>
              <a:gd name="T111" fmla="*/ 65 h 903"/>
              <a:gd name="T112" fmla="*/ 543 w 903"/>
              <a:gd name="T113" fmla="*/ 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903">
                <a:moveTo>
                  <a:pt x="502" y="870"/>
                </a:moveTo>
                <a:lnTo>
                  <a:pt x="517" y="847"/>
                </a:lnTo>
                <a:lnTo>
                  <a:pt x="532" y="826"/>
                </a:lnTo>
                <a:lnTo>
                  <a:pt x="545" y="803"/>
                </a:lnTo>
                <a:lnTo>
                  <a:pt x="558" y="781"/>
                </a:lnTo>
                <a:lnTo>
                  <a:pt x="569" y="759"/>
                </a:lnTo>
                <a:lnTo>
                  <a:pt x="581" y="737"/>
                </a:lnTo>
                <a:lnTo>
                  <a:pt x="591" y="714"/>
                </a:lnTo>
                <a:lnTo>
                  <a:pt x="601" y="692"/>
                </a:lnTo>
                <a:lnTo>
                  <a:pt x="796" y="692"/>
                </a:lnTo>
                <a:lnTo>
                  <a:pt x="783" y="710"/>
                </a:lnTo>
                <a:lnTo>
                  <a:pt x="769" y="726"/>
                </a:lnTo>
                <a:lnTo>
                  <a:pt x="755" y="742"/>
                </a:lnTo>
                <a:lnTo>
                  <a:pt x="739" y="758"/>
                </a:lnTo>
                <a:lnTo>
                  <a:pt x="723" y="772"/>
                </a:lnTo>
                <a:lnTo>
                  <a:pt x="706" y="786"/>
                </a:lnTo>
                <a:lnTo>
                  <a:pt x="689" y="799"/>
                </a:lnTo>
                <a:lnTo>
                  <a:pt x="669" y="811"/>
                </a:lnTo>
                <a:lnTo>
                  <a:pt x="651" y="822"/>
                </a:lnTo>
                <a:lnTo>
                  <a:pt x="631" y="832"/>
                </a:lnTo>
                <a:lnTo>
                  <a:pt x="610" y="841"/>
                </a:lnTo>
                <a:lnTo>
                  <a:pt x="590" y="848"/>
                </a:lnTo>
                <a:lnTo>
                  <a:pt x="568" y="856"/>
                </a:lnTo>
                <a:lnTo>
                  <a:pt x="547" y="861"/>
                </a:lnTo>
                <a:lnTo>
                  <a:pt x="524" y="866"/>
                </a:lnTo>
                <a:lnTo>
                  <a:pt x="502" y="870"/>
                </a:lnTo>
                <a:lnTo>
                  <a:pt x="502" y="870"/>
                </a:lnTo>
                <a:close/>
                <a:moveTo>
                  <a:pt x="441" y="872"/>
                </a:moveTo>
                <a:lnTo>
                  <a:pt x="425" y="850"/>
                </a:lnTo>
                <a:lnTo>
                  <a:pt x="409" y="827"/>
                </a:lnTo>
                <a:lnTo>
                  <a:pt x="395" y="804"/>
                </a:lnTo>
                <a:lnTo>
                  <a:pt x="381" y="782"/>
                </a:lnTo>
                <a:lnTo>
                  <a:pt x="368" y="759"/>
                </a:lnTo>
                <a:lnTo>
                  <a:pt x="356" y="737"/>
                </a:lnTo>
                <a:lnTo>
                  <a:pt x="344" y="714"/>
                </a:lnTo>
                <a:lnTo>
                  <a:pt x="335" y="692"/>
                </a:lnTo>
                <a:lnTo>
                  <a:pt x="568" y="692"/>
                </a:lnTo>
                <a:lnTo>
                  <a:pt x="559" y="714"/>
                </a:lnTo>
                <a:lnTo>
                  <a:pt x="547" y="737"/>
                </a:lnTo>
                <a:lnTo>
                  <a:pt x="535" y="759"/>
                </a:lnTo>
                <a:lnTo>
                  <a:pt x="522" y="782"/>
                </a:lnTo>
                <a:lnTo>
                  <a:pt x="508" y="804"/>
                </a:lnTo>
                <a:lnTo>
                  <a:pt x="494" y="827"/>
                </a:lnTo>
                <a:lnTo>
                  <a:pt x="479" y="850"/>
                </a:lnTo>
                <a:lnTo>
                  <a:pt x="463" y="872"/>
                </a:lnTo>
                <a:lnTo>
                  <a:pt x="457" y="873"/>
                </a:lnTo>
                <a:lnTo>
                  <a:pt x="450" y="873"/>
                </a:lnTo>
                <a:lnTo>
                  <a:pt x="445" y="873"/>
                </a:lnTo>
                <a:lnTo>
                  <a:pt x="441" y="872"/>
                </a:lnTo>
                <a:lnTo>
                  <a:pt x="441" y="872"/>
                </a:lnTo>
                <a:close/>
                <a:moveTo>
                  <a:pt x="108" y="692"/>
                </a:moveTo>
                <a:lnTo>
                  <a:pt x="302" y="692"/>
                </a:lnTo>
                <a:lnTo>
                  <a:pt x="312" y="714"/>
                </a:lnTo>
                <a:lnTo>
                  <a:pt x="323" y="737"/>
                </a:lnTo>
                <a:lnTo>
                  <a:pt x="334" y="759"/>
                </a:lnTo>
                <a:lnTo>
                  <a:pt x="345" y="781"/>
                </a:lnTo>
                <a:lnTo>
                  <a:pt x="358" y="803"/>
                </a:lnTo>
                <a:lnTo>
                  <a:pt x="372" y="826"/>
                </a:lnTo>
                <a:lnTo>
                  <a:pt x="386" y="847"/>
                </a:lnTo>
                <a:lnTo>
                  <a:pt x="401" y="870"/>
                </a:lnTo>
                <a:lnTo>
                  <a:pt x="379" y="867"/>
                </a:lnTo>
                <a:lnTo>
                  <a:pt x="357" y="862"/>
                </a:lnTo>
                <a:lnTo>
                  <a:pt x="336" y="856"/>
                </a:lnTo>
                <a:lnTo>
                  <a:pt x="314" y="850"/>
                </a:lnTo>
                <a:lnTo>
                  <a:pt x="294" y="842"/>
                </a:lnTo>
                <a:lnTo>
                  <a:pt x="273" y="832"/>
                </a:lnTo>
                <a:lnTo>
                  <a:pt x="254" y="823"/>
                </a:lnTo>
                <a:lnTo>
                  <a:pt x="235" y="812"/>
                </a:lnTo>
                <a:lnTo>
                  <a:pt x="217" y="800"/>
                </a:lnTo>
                <a:lnTo>
                  <a:pt x="198" y="787"/>
                </a:lnTo>
                <a:lnTo>
                  <a:pt x="182" y="773"/>
                </a:lnTo>
                <a:lnTo>
                  <a:pt x="165" y="758"/>
                </a:lnTo>
                <a:lnTo>
                  <a:pt x="150" y="743"/>
                </a:lnTo>
                <a:lnTo>
                  <a:pt x="135" y="727"/>
                </a:lnTo>
                <a:lnTo>
                  <a:pt x="121" y="710"/>
                </a:lnTo>
                <a:lnTo>
                  <a:pt x="108" y="692"/>
                </a:lnTo>
                <a:lnTo>
                  <a:pt x="108" y="692"/>
                </a:lnTo>
                <a:close/>
                <a:moveTo>
                  <a:pt x="66" y="270"/>
                </a:moveTo>
                <a:lnTo>
                  <a:pt x="270" y="270"/>
                </a:lnTo>
                <a:lnTo>
                  <a:pt x="264" y="293"/>
                </a:lnTo>
                <a:lnTo>
                  <a:pt x="260" y="315"/>
                </a:lnTo>
                <a:lnTo>
                  <a:pt x="255" y="337"/>
                </a:lnTo>
                <a:lnTo>
                  <a:pt x="252" y="359"/>
                </a:lnTo>
                <a:lnTo>
                  <a:pt x="250" y="383"/>
                </a:lnTo>
                <a:lnTo>
                  <a:pt x="249" y="405"/>
                </a:lnTo>
                <a:lnTo>
                  <a:pt x="248" y="428"/>
                </a:lnTo>
                <a:lnTo>
                  <a:pt x="248" y="451"/>
                </a:lnTo>
                <a:lnTo>
                  <a:pt x="30" y="451"/>
                </a:lnTo>
                <a:lnTo>
                  <a:pt x="30" y="446"/>
                </a:lnTo>
                <a:lnTo>
                  <a:pt x="30" y="442"/>
                </a:lnTo>
                <a:lnTo>
                  <a:pt x="31" y="419"/>
                </a:lnTo>
                <a:lnTo>
                  <a:pt x="32" y="397"/>
                </a:lnTo>
                <a:lnTo>
                  <a:pt x="35" y="374"/>
                </a:lnTo>
                <a:lnTo>
                  <a:pt x="40" y="353"/>
                </a:lnTo>
                <a:lnTo>
                  <a:pt x="45" y="331"/>
                </a:lnTo>
                <a:lnTo>
                  <a:pt x="50" y="311"/>
                </a:lnTo>
                <a:lnTo>
                  <a:pt x="58" y="291"/>
                </a:lnTo>
                <a:lnTo>
                  <a:pt x="66" y="270"/>
                </a:lnTo>
                <a:lnTo>
                  <a:pt x="66" y="270"/>
                </a:lnTo>
                <a:close/>
                <a:moveTo>
                  <a:pt x="397" y="33"/>
                </a:moveTo>
                <a:lnTo>
                  <a:pt x="377" y="58"/>
                </a:lnTo>
                <a:lnTo>
                  <a:pt x="359" y="82"/>
                </a:lnTo>
                <a:lnTo>
                  <a:pt x="342" y="108"/>
                </a:lnTo>
                <a:lnTo>
                  <a:pt x="327" y="134"/>
                </a:lnTo>
                <a:lnTo>
                  <a:pt x="313" y="160"/>
                </a:lnTo>
                <a:lnTo>
                  <a:pt x="300" y="186"/>
                </a:lnTo>
                <a:lnTo>
                  <a:pt x="288" y="213"/>
                </a:lnTo>
                <a:lnTo>
                  <a:pt x="279" y="240"/>
                </a:lnTo>
                <a:lnTo>
                  <a:pt x="81" y="240"/>
                </a:lnTo>
                <a:lnTo>
                  <a:pt x="94" y="220"/>
                </a:lnTo>
                <a:lnTo>
                  <a:pt x="107" y="200"/>
                </a:lnTo>
                <a:lnTo>
                  <a:pt x="122" y="181"/>
                </a:lnTo>
                <a:lnTo>
                  <a:pt x="137" y="163"/>
                </a:lnTo>
                <a:lnTo>
                  <a:pt x="154" y="146"/>
                </a:lnTo>
                <a:lnTo>
                  <a:pt x="173" y="130"/>
                </a:lnTo>
                <a:lnTo>
                  <a:pt x="191" y="115"/>
                </a:lnTo>
                <a:lnTo>
                  <a:pt x="211" y="101"/>
                </a:lnTo>
                <a:lnTo>
                  <a:pt x="232" y="88"/>
                </a:lnTo>
                <a:lnTo>
                  <a:pt x="253" y="76"/>
                </a:lnTo>
                <a:lnTo>
                  <a:pt x="275" y="66"/>
                </a:lnTo>
                <a:lnTo>
                  <a:pt x="298" y="57"/>
                </a:lnTo>
                <a:lnTo>
                  <a:pt x="322" y="49"/>
                </a:lnTo>
                <a:lnTo>
                  <a:pt x="346" y="42"/>
                </a:lnTo>
                <a:lnTo>
                  <a:pt x="371" y="36"/>
                </a:lnTo>
                <a:lnTo>
                  <a:pt x="397" y="33"/>
                </a:lnTo>
                <a:close/>
                <a:moveTo>
                  <a:pt x="463" y="30"/>
                </a:moveTo>
                <a:lnTo>
                  <a:pt x="486" y="55"/>
                </a:lnTo>
                <a:lnTo>
                  <a:pt x="505" y="80"/>
                </a:lnTo>
                <a:lnTo>
                  <a:pt x="524" y="106"/>
                </a:lnTo>
                <a:lnTo>
                  <a:pt x="540" y="132"/>
                </a:lnTo>
                <a:lnTo>
                  <a:pt x="557" y="159"/>
                </a:lnTo>
                <a:lnTo>
                  <a:pt x="571" y="185"/>
                </a:lnTo>
                <a:lnTo>
                  <a:pt x="582" y="213"/>
                </a:lnTo>
                <a:lnTo>
                  <a:pt x="594" y="240"/>
                </a:lnTo>
                <a:lnTo>
                  <a:pt x="310" y="240"/>
                </a:lnTo>
                <a:lnTo>
                  <a:pt x="321" y="212"/>
                </a:lnTo>
                <a:lnTo>
                  <a:pt x="332" y="185"/>
                </a:lnTo>
                <a:lnTo>
                  <a:pt x="346" y="159"/>
                </a:lnTo>
                <a:lnTo>
                  <a:pt x="362" y="132"/>
                </a:lnTo>
                <a:lnTo>
                  <a:pt x="380" y="106"/>
                </a:lnTo>
                <a:lnTo>
                  <a:pt x="398" y="80"/>
                </a:lnTo>
                <a:lnTo>
                  <a:pt x="418" y="55"/>
                </a:lnTo>
                <a:lnTo>
                  <a:pt x="440" y="30"/>
                </a:lnTo>
                <a:lnTo>
                  <a:pt x="445" y="30"/>
                </a:lnTo>
                <a:lnTo>
                  <a:pt x="451" y="30"/>
                </a:lnTo>
                <a:lnTo>
                  <a:pt x="458" y="30"/>
                </a:lnTo>
                <a:lnTo>
                  <a:pt x="463" y="30"/>
                </a:lnTo>
                <a:close/>
                <a:moveTo>
                  <a:pt x="817" y="240"/>
                </a:moveTo>
                <a:lnTo>
                  <a:pt x="624" y="240"/>
                </a:lnTo>
                <a:lnTo>
                  <a:pt x="614" y="213"/>
                </a:lnTo>
                <a:lnTo>
                  <a:pt x="603" y="186"/>
                </a:lnTo>
                <a:lnTo>
                  <a:pt x="591" y="160"/>
                </a:lnTo>
                <a:lnTo>
                  <a:pt x="576" y="134"/>
                </a:lnTo>
                <a:lnTo>
                  <a:pt x="561" y="108"/>
                </a:lnTo>
                <a:lnTo>
                  <a:pt x="544" y="82"/>
                </a:lnTo>
                <a:lnTo>
                  <a:pt x="527" y="58"/>
                </a:lnTo>
                <a:lnTo>
                  <a:pt x="506" y="33"/>
                </a:lnTo>
                <a:lnTo>
                  <a:pt x="531" y="37"/>
                </a:lnTo>
                <a:lnTo>
                  <a:pt x="556" y="43"/>
                </a:lnTo>
                <a:lnTo>
                  <a:pt x="579" y="49"/>
                </a:lnTo>
                <a:lnTo>
                  <a:pt x="602" y="58"/>
                </a:lnTo>
                <a:lnTo>
                  <a:pt x="624" y="66"/>
                </a:lnTo>
                <a:lnTo>
                  <a:pt x="646" y="77"/>
                </a:lnTo>
                <a:lnTo>
                  <a:pt x="667" y="89"/>
                </a:lnTo>
                <a:lnTo>
                  <a:pt x="687" y="102"/>
                </a:lnTo>
                <a:lnTo>
                  <a:pt x="707" y="116"/>
                </a:lnTo>
                <a:lnTo>
                  <a:pt x="725" y="131"/>
                </a:lnTo>
                <a:lnTo>
                  <a:pt x="743" y="147"/>
                </a:lnTo>
                <a:lnTo>
                  <a:pt x="759" y="164"/>
                </a:lnTo>
                <a:lnTo>
                  <a:pt x="775" y="181"/>
                </a:lnTo>
                <a:lnTo>
                  <a:pt x="790" y="200"/>
                </a:lnTo>
                <a:lnTo>
                  <a:pt x="804" y="220"/>
                </a:lnTo>
                <a:lnTo>
                  <a:pt x="817" y="240"/>
                </a:lnTo>
                <a:close/>
                <a:moveTo>
                  <a:pt x="653" y="482"/>
                </a:moveTo>
                <a:lnTo>
                  <a:pt x="872" y="482"/>
                </a:lnTo>
                <a:lnTo>
                  <a:pt x="869" y="506"/>
                </a:lnTo>
                <a:lnTo>
                  <a:pt x="865" y="530"/>
                </a:lnTo>
                <a:lnTo>
                  <a:pt x="860" y="553"/>
                </a:lnTo>
                <a:lnTo>
                  <a:pt x="854" y="576"/>
                </a:lnTo>
                <a:lnTo>
                  <a:pt x="846" y="598"/>
                </a:lnTo>
                <a:lnTo>
                  <a:pt x="837" y="620"/>
                </a:lnTo>
                <a:lnTo>
                  <a:pt x="827" y="641"/>
                </a:lnTo>
                <a:lnTo>
                  <a:pt x="815" y="662"/>
                </a:lnTo>
                <a:lnTo>
                  <a:pt x="612" y="662"/>
                </a:lnTo>
                <a:lnTo>
                  <a:pt x="620" y="639"/>
                </a:lnTo>
                <a:lnTo>
                  <a:pt x="627" y="617"/>
                </a:lnTo>
                <a:lnTo>
                  <a:pt x="634" y="594"/>
                </a:lnTo>
                <a:lnTo>
                  <a:pt x="639" y="572"/>
                </a:lnTo>
                <a:lnTo>
                  <a:pt x="643" y="549"/>
                </a:lnTo>
                <a:lnTo>
                  <a:pt x="648" y="527"/>
                </a:lnTo>
                <a:lnTo>
                  <a:pt x="651" y="504"/>
                </a:lnTo>
                <a:lnTo>
                  <a:pt x="653" y="482"/>
                </a:lnTo>
                <a:close/>
                <a:moveTo>
                  <a:pt x="299" y="270"/>
                </a:moveTo>
                <a:lnTo>
                  <a:pt x="604" y="270"/>
                </a:lnTo>
                <a:lnTo>
                  <a:pt x="610" y="293"/>
                </a:lnTo>
                <a:lnTo>
                  <a:pt x="616" y="315"/>
                </a:lnTo>
                <a:lnTo>
                  <a:pt x="620" y="337"/>
                </a:lnTo>
                <a:lnTo>
                  <a:pt x="623" y="359"/>
                </a:lnTo>
                <a:lnTo>
                  <a:pt x="625" y="383"/>
                </a:lnTo>
                <a:lnTo>
                  <a:pt x="626" y="405"/>
                </a:lnTo>
                <a:lnTo>
                  <a:pt x="627" y="428"/>
                </a:lnTo>
                <a:lnTo>
                  <a:pt x="626" y="451"/>
                </a:lnTo>
                <a:lnTo>
                  <a:pt x="277" y="451"/>
                </a:lnTo>
                <a:lnTo>
                  <a:pt x="276" y="428"/>
                </a:lnTo>
                <a:lnTo>
                  <a:pt x="277" y="405"/>
                </a:lnTo>
                <a:lnTo>
                  <a:pt x="278" y="383"/>
                </a:lnTo>
                <a:lnTo>
                  <a:pt x="280" y="359"/>
                </a:lnTo>
                <a:lnTo>
                  <a:pt x="284" y="337"/>
                </a:lnTo>
                <a:lnTo>
                  <a:pt x="288" y="315"/>
                </a:lnTo>
                <a:lnTo>
                  <a:pt x="293" y="293"/>
                </a:lnTo>
                <a:lnTo>
                  <a:pt x="299" y="270"/>
                </a:lnTo>
                <a:lnTo>
                  <a:pt x="299" y="270"/>
                </a:lnTo>
                <a:close/>
                <a:moveTo>
                  <a:pt x="279" y="482"/>
                </a:moveTo>
                <a:lnTo>
                  <a:pt x="625" y="482"/>
                </a:lnTo>
                <a:lnTo>
                  <a:pt x="622" y="504"/>
                </a:lnTo>
                <a:lnTo>
                  <a:pt x="619" y="527"/>
                </a:lnTo>
                <a:lnTo>
                  <a:pt x="614" y="549"/>
                </a:lnTo>
                <a:lnTo>
                  <a:pt x="610" y="572"/>
                </a:lnTo>
                <a:lnTo>
                  <a:pt x="604" y="594"/>
                </a:lnTo>
                <a:lnTo>
                  <a:pt x="597" y="617"/>
                </a:lnTo>
                <a:lnTo>
                  <a:pt x="590" y="639"/>
                </a:lnTo>
                <a:lnTo>
                  <a:pt x="581" y="662"/>
                </a:lnTo>
                <a:lnTo>
                  <a:pt x="322" y="662"/>
                </a:lnTo>
                <a:lnTo>
                  <a:pt x="313" y="639"/>
                </a:lnTo>
                <a:lnTo>
                  <a:pt x="306" y="617"/>
                </a:lnTo>
                <a:lnTo>
                  <a:pt x="299" y="594"/>
                </a:lnTo>
                <a:lnTo>
                  <a:pt x="293" y="572"/>
                </a:lnTo>
                <a:lnTo>
                  <a:pt x="288" y="549"/>
                </a:lnTo>
                <a:lnTo>
                  <a:pt x="284" y="527"/>
                </a:lnTo>
                <a:lnTo>
                  <a:pt x="281" y="504"/>
                </a:lnTo>
                <a:lnTo>
                  <a:pt x="279" y="482"/>
                </a:lnTo>
                <a:close/>
                <a:moveTo>
                  <a:pt x="32" y="482"/>
                </a:moveTo>
                <a:lnTo>
                  <a:pt x="250" y="482"/>
                </a:lnTo>
                <a:lnTo>
                  <a:pt x="252" y="504"/>
                </a:lnTo>
                <a:lnTo>
                  <a:pt x="255" y="527"/>
                </a:lnTo>
                <a:lnTo>
                  <a:pt x="260" y="549"/>
                </a:lnTo>
                <a:lnTo>
                  <a:pt x="264" y="572"/>
                </a:lnTo>
                <a:lnTo>
                  <a:pt x="269" y="594"/>
                </a:lnTo>
                <a:lnTo>
                  <a:pt x="276" y="617"/>
                </a:lnTo>
                <a:lnTo>
                  <a:pt x="283" y="639"/>
                </a:lnTo>
                <a:lnTo>
                  <a:pt x="291" y="662"/>
                </a:lnTo>
                <a:lnTo>
                  <a:pt x="89" y="662"/>
                </a:lnTo>
                <a:lnTo>
                  <a:pt x="78" y="641"/>
                </a:lnTo>
                <a:lnTo>
                  <a:pt x="68" y="620"/>
                </a:lnTo>
                <a:lnTo>
                  <a:pt x="59" y="598"/>
                </a:lnTo>
                <a:lnTo>
                  <a:pt x="51" y="576"/>
                </a:lnTo>
                <a:lnTo>
                  <a:pt x="44" y="553"/>
                </a:lnTo>
                <a:lnTo>
                  <a:pt x="39" y="530"/>
                </a:lnTo>
                <a:lnTo>
                  <a:pt x="34" y="506"/>
                </a:lnTo>
                <a:lnTo>
                  <a:pt x="32" y="482"/>
                </a:lnTo>
                <a:close/>
                <a:moveTo>
                  <a:pt x="873" y="451"/>
                </a:moveTo>
                <a:lnTo>
                  <a:pt x="655" y="451"/>
                </a:lnTo>
                <a:lnTo>
                  <a:pt x="655" y="428"/>
                </a:lnTo>
                <a:lnTo>
                  <a:pt x="655" y="405"/>
                </a:lnTo>
                <a:lnTo>
                  <a:pt x="653" y="383"/>
                </a:lnTo>
                <a:lnTo>
                  <a:pt x="651" y="359"/>
                </a:lnTo>
                <a:lnTo>
                  <a:pt x="648" y="337"/>
                </a:lnTo>
                <a:lnTo>
                  <a:pt x="645" y="315"/>
                </a:lnTo>
                <a:lnTo>
                  <a:pt x="639" y="293"/>
                </a:lnTo>
                <a:lnTo>
                  <a:pt x="634" y="270"/>
                </a:lnTo>
                <a:lnTo>
                  <a:pt x="832" y="270"/>
                </a:lnTo>
                <a:lnTo>
                  <a:pt x="842" y="292"/>
                </a:lnTo>
                <a:lnTo>
                  <a:pt x="849" y="312"/>
                </a:lnTo>
                <a:lnTo>
                  <a:pt x="857" y="335"/>
                </a:lnTo>
                <a:lnTo>
                  <a:pt x="862" y="356"/>
                </a:lnTo>
                <a:lnTo>
                  <a:pt x="867" y="380"/>
                </a:lnTo>
                <a:lnTo>
                  <a:pt x="870" y="402"/>
                </a:lnTo>
                <a:lnTo>
                  <a:pt x="872" y="426"/>
                </a:lnTo>
                <a:lnTo>
                  <a:pt x="873" y="449"/>
                </a:lnTo>
                <a:lnTo>
                  <a:pt x="873" y="450"/>
                </a:lnTo>
                <a:lnTo>
                  <a:pt x="873" y="451"/>
                </a:lnTo>
                <a:lnTo>
                  <a:pt x="873" y="451"/>
                </a:lnTo>
                <a:close/>
                <a:moveTo>
                  <a:pt x="451" y="0"/>
                </a:moveTo>
                <a:lnTo>
                  <a:pt x="442" y="0"/>
                </a:lnTo>
                <a:lnTo>
                  <a:pt x="432" y="0"/>
                </a:lnTo>
                <a:lnTo>
                  <a:pt x="409" y="1"/>
                </a:lnTo>
                <a:lnTo>
                  <a:pt x="386" y="4"/>
                </a:lnTo>
                <a:lnTo>
                  <a:pt x="365" y="7"/>
                </a:lnTo>
                <a:lnTo>
                  <a:pt x="343" y="12"/>
                </a:lnTo>
                <a:lnTo>
                  <a:pt x="322" y="17"/>
                </a:lnTo>
                <a:lnTo>
                  <a:pt x="300" y="23"/>
                </a:lnTo>
                <a:lnTo>
                  <a:pt x="280" y="31"/>
                </a:lnTo>
                <a:lnTo>
                  <a:pt x="261" y="39"/>
                </a:lnTo>
                <a:lnTo>
                  <a:pt x="241" y="48"/>
                </a:lnTo>
                <a:lnTo>
                  <a:pt x="223" y="58"/>
                </a:lnTo>
                <a:lnTo>
                  <a:pt x="205" y="68"/>
                </a:lnTo>
                <a:lnTo>
                  <a:pt x="187" y="80"/>
                </a:lnTo>
                <a:lnTo>
                  <a:pt x="170" y="92"/>
                </a:lnTo>
                <a:lnTo>
                  <a:pt x="154" y="106"/>
                </a:lnTo>
                <a:lnTo>
                  <a:pt x="138" y="119"/>
                </a:lnTo>
                <a:lnTo>
                  <a:pt x="123" y="134"/>
                </a:lnTo>
                <a:lnTo>
                  <a:pt x="109" y="149"/>
                </a:lnTo>
                <a:lnTo>
                  <a:pt x="96" y="165"/>
                </a:lnTo>
                <a:lnTo>
                  <a:pt x="84" y="181"/>
                </a:lnTo>
                <a:lnTo>
                  <a:pt x="72" y="198"/>
                </a:lnTo>
                <a:lnTo>
                  <a:pt x="61" y="215"/>
                </a:lnTo>
                <a:lnTo>
                  <a:pt x="50" y="234"/>
                </a:lnTo>
                <a:lnTo>
                  <a:pt x="41" y="253"/>
                </a:lnTo>
                <a:lnTo>
                  <a:pt x="33" y="272"/>
                </a:lnTo>
                <a:lnTo>
                  <a:pt x="26" y="292"/>
                </a:lnTo>
                <a:lnTo>
                  <a:pt x="18" y="312"/>
                </a:lnTo>
                <a:lnTo>
                  <a:pt x="13" y="332"/>
                </a:lnTo>
                <a:lnTo>
                  <a:pt x="9" y="354"/>
                </a:lnTo>
                <a:lnTo>
                  <a:pt x="4" y="375"/>
                </a:lnTo>
                <a:lnTo>
                  <a:pt x="2" y="397"/>
                </a:lnTo>
                <a:lnTo>
                  <a:pt x="0" y="419"/>
                </a:lnTo>
                <a:lnTo>
                  <a:pt x="0" y="442"/>
                </a:lnTo>
                <a:lnTo>
                  <a:pt x="0" y="465"/>
                </a:lnTo>
                <a:lnTo>
                  <a:pt x="2" y="489"/>
                </a:lnTo>
                <a:lnTo>
                  <a:pt x="5" y="512"/>
                </a:lnTo>
                <a:lnTo>
                  <a:pt x="9" y="534"/>
                </a:lnTo>
                <a:lnTo>
                  <a:pt x="14" y="557"/>
                </a:lnTo>
                <a:lnTo>
                  <a:pt x="20" y="579"/>
                </a:lnTo>
                <a:lnTo>
                  <a:pt x="27" y="601"/>
                </a:lnTo>
                <a:lnTo>
                  <a:pt x="35" y="621"/>
                </a:lnTo>
                <a:lnTo>
                  <a:pt x="44" y="641"/>
                </a:lnTo>
                <a:lnTo>
                  <a:pt x="55" y="662"/>
                </a:lnTo>
                <a:lnTo>
                  <a:pt x="65" y="681"/>
                </a:lnTo>
                <a:lnTo>
                  <a:pt x="77" y="699"/>
                </a:lnTo>
                <a:lnTo>
                  <a:pt x="89" y="718"/>
                </a:lnTo>
                <a:lnTo>
                  <a:pt x="103" y="735"/>
                </a:lnTo>
                <a:lnTo>
                  <a:pt x="117" y="752"/>
                </a:lnTo>
                <a:lnTo>
                  <a:pt x="132" y="768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198" y="824"/>
                </a:lnTo>
                <a:lnTo>
                  <a:pt x="217" y="836"/>
                </a:lnTo>
                <a:lnTo>
                  <a:pt x="236" y="847"/>
                </a:lnTo>
                <a:lnTo>
                  <a:pt x="255" y="857"/>
                </a:lnTo>
                <a:lnTo>
                  <a:pt x="276" y="867"/>
                </a:lnTo>
                <a:lnTo>
                  <a:pt x="296" y="875"/>
                </a:lnTo>
                <a:lnTo>
                  <a:pt x="316" y="882"/>
                </a:lnTo>
                <a:lnTo>
                  <a:pt x="338" y="888"/>
                </a:lnTo>
                <a:lnTo>
                  <a:pt x="359" y="894"/>
                </a:lnTo>
                <a:lnTo>
                  <a:pt x="382" y="898"/>
                </a:lnTo>
                <a:lnTo>
                  <a:pt x="404" y="901"/>
                </a:lnTo>
                <a:lnTo>
                  <a:pt x="427" y="902"/>
                </a:lnTo>
                <a:lnTo>
                  <a:pt x="450" y="903"/>
                </a:lnTo>
                <a:lnTo>
                  <a:pt x="474" y="902"/>
                </a:lnTo>
                <a:lnTo>
                  <a:pt x="497" y="901"/>
                </a:lnTo>
                <a:lnTo>
                  <a:pt x="519" y="898"/>
                </a:lnTo>
                <a:lnTo>
                  <a:pt x="542" y="894"/>
                </a:lnTo>
                <a:lnTo>
                  <a:pt x="563" y="888"/>
                </a:lnTo>
                <a:lnTo>
                  <a:pt x="584" y="883"/>
                </a:lnTo>
                <a:lnTo>
                  <a:pt x="606" y="875"/>
                </a:lnTo>
                <a:lnTo>
                  <a:pt x="626" y="868"/>
                </a:lnTo>
                <a:lnTo>
                  <a:pt x="647" y="858"/>
                </a:lnTo>
                <a:lnTo>
                  <a:pt x="666" y="848"/>
                </a:lnTo>
                <a:lnTo>
                  <a:pt x="685" y="838"/>
                </a:lnTo>
                <a:lnTo>
                  <a:pt x="704" y="826"/>
                </a:lnTo>
                <a:lnTo>
                  <a:pt x="721" y="813"/>
                </a:lnTo>
                <a:lnTo>
                  <a:pt x="738" y="799"/>
                </a:lnTo>
                <a:lnTo>
                  <a:pt x="755" y="785"/>
                </a:lnTo>
                <a:lnTo>
                  <a:pt x="770" y="770"/>
                </a:lnTo>
                <a:lnTo>
                  <a:pt x="785" y="754"/>
                </a:lnTo>
                <a:lnTo>
                  <a:pt x="799" y="738"/>
                </a:lnTo>
                <a:lnTo>
                  <a:pt x="813" y="721"/>
                </a:lnTo>
                <a:lnTo>
                  <a:pt x="826" y="703"/>
                </a:lnTo>
                <a:lnTo>
                  <a:pt x="838" y="684"/>
                </a:lnTo>
                <a:lnTo>
                  <a:pt x="848" y="665"/>
                </a:lnTo>
                <a:lnTo>
                  <a:pt x="858" y="646"/>
                </a:lnTo>
                <a:lnTo>
                  <a:pt x="868" y="626"/>
                </a:lnTo>
                <a:lnTo>
                  <a:pt x="875" y="605"/>
                </a:lnTo>
                <a:lnTo>
                  <a:pt x="883" y="585"/>
                </a:lnTo>
                <a:lnTo>
                  <a:pt x="889" y="563"/>
                </a:lnTo>
                <a:lnTo>
                  <a:pt x="893" y="541"/>
                </a:lnTo>
                <a:lnTo>
                  <a:pt x="898" y="518"/>
                </a:lnTo>
                <a:lnTo>
                  <a:pt x="901" y="495"/>
                </a:lnTo>
                <a:lnTo>
                  <a:pt x="902" y="473"/>
                </a:lnTo>
                <a:lnTo>
                  <a:pt x="903" y="449"/>
                </a:lnTo>
                <a:lnTo>
                  <a:pt x="902" y="427"/>
                </a:lnTo>
                <a:lnTo>
                  <a:pt x="901" y="403"/>
                </a:lnTo>
                <a:lnTo>
                  <a:pt x="898" y="381"/>
                </a:lnTo>
                <a:lnTo>
                  <a:pt x="893" y="359"/>
                </a:lnTo>
                <a:lnTo>
                  <a:pt x="889" y="337"/>
                </a:lnTo>
                <a:lnTo>
                  <a:pt x="883" y="316"/>
                </a:lnTo>
                <a:lnTo>
                  <a:pt x="875" y="295"/>
                </a:lnTo>
                <a:lnTo>
                  <a:pt x="868" y="274"/>
                </a:lnTo>
                <a:lnTo>
                  <a:pt x="858" y="254"/>
                </a:lnTo>
                <a:lnTo>
                  <a:pt x="848" y="235"/>
                </a:lnTo>
                <a:lnTo>
                  <a:pt x="838" y="217"/>
                </a:lnTo>
                <a:lnTo>
                  <a:pt x="826" y="198"/>
                </a:lnTo>
                <a:lnTo>
                  <a:pt x="813" y="180"/>
                </a:lnTo>
                <a:lnTo>
                  <a:pt x="800" y="163"/>
                </a:lnTo>
                <a:lnTo>
                  <a:pt x="786" y="147"/>
                </a:lnTo>
                <a:lnTo>
                  <a:pt x="771" y="132"/>
                </a:lnTo>
                <a:lnTo>
                  <a:pt x="755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5" y="65"/>
                </a:lnTo>
                <a:lnTo>
                  <a:pt x="667" y="53"/>
                </a:lnTo>
                <a:lnTo>
                  <a:pt x="647" y="44"/>
                </a:lnTo>
                <a:lnTo>
                  <a:pt x="627" y="35"/>
                </a:lnTo>
                <a:lnTo>
                  <a:pt x="607" y="27"/>
                </a:lnTo>
                <a:lnTo>
                  <a:pt x="586" y="20"/>
                </a:lnTo>
                <a:lnTo>
                  <a:pt x="564" y="14"/>
                </a:lnTo>
                <a:lnTo>
                  <a:pt x="543" y="8"/>
                </a:lnTo>
                <a:lnTo>
                  <a:pt x="520" y="5"/>
                </a:lnTo>
                <a:lnTo>
                  <a:pt x="498" y="2"/>
                </a:lnTo>
                <a:lnTo>
                  <a:pt x="475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799833" y="5364800"/>
            <a:ext cx="592334" cy="592334"/>
            <a:chOff x="11593513" y="782638"/>
            <a:chExt cx="285750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9" name="Freeform 300"/>
            <p:cNvSpPr/>
            <p:nvPr/>
          </p:nvSpPr>
          <p:spPr bwMode="auto">
            <a:xfrm>
              <a:off x="11726863" y="1038225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1 w 120"/>
                <a:gd name="T7" fmla="*/ 29 h 30"/>
                <a:gd name="T8" fmla="*/ 114 w 120"/>
                <a:gd name="T9" fmla="*/ 28 h 30"/>
                <a:gd name="T10" fmla="*/ 116 w 120"/>
                <a:gd name="T11" fmla="*/ 26 h 30"/>
                <a:gd name="T12" fmla="*/ 118 w 120"/>
                <a:gd name="T13" fmla="*/ 24 h 30"/>
                <a:gd name="T14" fmla="*/ 119 w 120"/>
                <a:gd name="T15" fmla="*/ 22 h 30"/>
                <a:gd name="T16" fmla="*/ 120 w 120"/>
                <a:gd name="T17" fmla="*/ 19 h 30"/>
                <a:gd name="T18" fmla="*/ 120 w 120"/>
                <a:gd name="T19" fmla="*/ 15 h 30"/>
                <a:gd name="T20" fmla="*/ 120 w 120"/>
                <a:gd name="T21" fmla="*/ 13 h 30"/>
                <a:gd name="T22" fmla="*/ 119 w 120"/>
                <a:gd name="T23" fmla="*/ 10 h 30"/>
                <a:gd name="T24" fmla="*/ 118 w 120"/>
                <a:gd name="T25" fmla="*/ 8 h 30"/>
                <a:gd name="T26" fmla="*/ 116 w 120"/>
                <a:gd name="T27" fmla="*/ 5 h 30"/>
                <a:gd name="T28" fmla="*/ 114 w 120"/>
                <a:gd name="T29" fmla="*/ 4 h 30"/>
                <a:gd name="T30" fmla="*/ 111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1 h 30"/>
                <a:gd name="T40" fmla="*/ 9 w 120"/>
                <a:gd name="T41" fmla="*/ 1 h 30"/>
                <a:gd name="T42" fmla="*/ 7 w 120"/>
                <a:gd name="T43" fmla="*/ 4 h 30"/>
                <a:gd name="T44" fmla="*/ 5 w 120"/>
                <a:gd name="T45" fmla="*/ 5 h 30"/>
                <a:gd name="T46" fmla="*/ 2 w 120"/>
                <a:gd name="T47" fmla="*/ 8 h 30"/>
                <a:gd name="T48" fmla="*/ 1 w 120"/>
                <a:gd name="T49" fmla="*/ 10 h 30"/>
                <a:gd name="T50" fmla="*/ 0 w 120"/>
                <a:gd name="T51" fmla="*/ 13 h 30"/>
                <a:gd name="T52" fmla="*/ 0 w 120"/>
                <a:gd name="T53" fmla="*/ 15 h 30"/>
                <a:gd name="T54" fmla="*/ 0 w 120"/>
                <a:gd name="T55" fmla="*/ 19 h 30"/>
                <a:gd name="T56" fmla="*/ 1 w 120"/>
                <a:gd name="T57" fmla="*/ 22 h 30"/>
                <a:gd name="T58" fmla="*/ 2 w 120"/>
                <a:gd name="T59" fmla="*/ 24 h 30"/>
                <a:gd name="T60" fmla="*/ 5 w 120"/>
                <a:gd name="T61" fmla="*/ 26 h 30"/>
                <a:gd name="T62" fmla="*/ 7 w 120"/>
                <a:gd name="T63" fmla="*/ 28 h 30"/>
                <a:gd name="T64" fmla="*/ 9 w 120"/>
                <a:gd name="T65" fmla="*/ 29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19" y="10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301"/>
            <p:cNvSpPr/>
            <p:nvPr/>
          </p:nvSpPr>
          <p:spPr bwMode="auto">
            <a:xfrm>
              <a:off x="11669713" y="811213"/>
              <a:ext cx="9525" cy="161925"/>
            </a:xfrm>
            <a:custGeom>
              <a:avLst/>
              <a:gdLst>
                <a:gd name="T0" fmla="*/ 15 w 31"/>
                <a:gd name="T1" fmla="*/ 510 h 510"/>
                <a:gd name="T2" fmla="*/ 18 w 31"/>
                <a:gd name="T3" fmla="*/ 510 h 510"/>
                <a:gd name="T4" fmla="*/ 21 w 31"/>
                <a:gd name="T5" fmla="*/ 509 h 510"/>
                <a:gd name="T6" fmla="*/ 23 w 31"/>
                <a:gd name="T7" fmla="*/ 507 h 510"/>
                <a:gd name="T8" fmla="*/ 25 w 31"/>
                <a:gd name="T9" fmla="*/ 506 h 510"/>
                <a:gd name="T10" fmla="*/ 27 w 31"/>
                <a:gd name="T11" fmla="*/ 504 h 510"/>
                <a:gd name="T12" fmla="*/ 29 w 31"/>
                <a:gd name="T13" fmla="*/ 500 h 510"/>
                <a:gd name="T14" fmla="*/ 30 w 31"/>
                <a:gd name="T15" fmla="*/ 498 h 510"/>
                <a:gd name="T16" fmla="*/ 31 w 31"/>
                <a:gd name="T17" fmla="*/ 495 h 510"/>
                <a:gd name="T18" fmla="*/ 31 w 31"/>
                <a:gd name="T19" fmla="*/ 15 h 510"/>
                <a:gd name="T20" fmla="*/ 30 w 31"/>
                <a:gd name="T21" fmla="*/ 12 h 510"/>
                <a:gd name="T22" fmla="*/ 29 w 31"/>
                <a:gd name="T23" fmla="*/ 9 h 510"/>
                <a:gd name="T24" fmla="*/ 27 w 31"/>
                <a:gd name="T25" fmla="*/ 7 h 510"/>
                <a:gd name="T26" fmla="*/ 25 w 31"/>
                <a:gd name="T27" fmla="*/ 5 h 510"/>
                <a:gd name="T28" fmla="*/ 23 w 31"/>
                <a:gd name="T29" fmla="*/ 3 h 510"/>
                <a:gd name="T30" fmla="*/ 21 w 31"/>
                <a:gd name="T31" fmla="*/ 1 h 510"/>
                <a:gd name="T32" fmla="*/ 18 w 31"/>
                <a:gd name="T33" fmla="*/ 0 h 510"/>
                <a:gd name="T34" fmla="*/ 15 w 31"/>
                <a:gd name="T35" fmla="*/ 0 h 510"/>
                <a:gd name="T36" fmla="*/ 13 w 31"/>
                <a:gd name="T37" fmla="*/ 0 h 510"/>
                <a:gd name="T38" fmla="*/ 9 w 31"/>
                <a:gd name="T39" fmla="*/ 1 h 510"/>
                <a:gd name="T40" fmla="*/ 7 w 31"/>
                <a:gd name="T41" fmla="*/ 3 h 510"/>
                <a:gd name="T42" fmla="*/ 5 w 31"/>
                <a:gd name="T43" fmla="*/ 5 h 510"/>
                <a:gd name="T44" fmla="*/ 3 w 31"/>
                <a:gd name="T45" fmla="*/ 7 h 510"/>
                <a:gd name="T46" fmla="*/ 2 w 31"/>
                <a:gd name="T47" fmla="*/ 9 h 510"/>
                <a:gd name="T48" fmla="*/ 1 w 31"/>
                <a:gd name="T49" fmla="*/ 12 h 510"/>
                <a:gd name="T50" fmla="*/ 0 w 31"/>
                <a:gd name="T51" fmla="*/ 15 h 510"/>
                <a:gd name="T52" fmla="*/ 0 w 31"/>
                <a:gd name="T53" fmla="*/ 495 h 510"/>
                <a:gd name="T54" fmla="*/ 1 w 31"/>
                <a:gd name="T55" fmla="*/ 498 h 510"/>
                <a:gd name="T56" fmla="*/ 2 w 31"/>
                <a:gd name="T57" fmla="*/ 500 h 510"/>
                <a:gd name="T58" fmla="*/ 3 w 31"/>
                <a:gd name="T59" fmla="*/ 504 h 510"/>
                <a:gd name="T60" fmla="*/ 5 w 31"/>
                <a:gd name="T61" fmla="*/ 506 h 510"/>
                <a:gd name="T62" fmla="*/ 7 w 31"/>
                <a:gd name="T63" fmla="*/ 507 h 510"/>
                <a:gd name="T64" fmla="*/ 9 w 31"/>
                <a:gd name="T65" fmla="*/ 509 h 510"/>
                <a:gd name="T66" fmla="*/ 13 w 31"/>
                <a:gd name="T67" fmla="*/ 510 h 510"/>
                <a:gd name="T68" fmla="*/ 15 w 31"/>
                <a:gd name="T6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10">
                  <a:moveTo>
                    <a:pt x="15" y="510"/>
                  </a:moveTo>
                  <a:lnTo>
                    <a:pt x="18" y="510"/>
                  </a:lnTo>
                  <a:lnTo>
                    <a:pt x="21" y="509"/>
                  </a:lnTo>
                  <a:lnTo>
                    <a:pt x="23" y="507"/>
                  </a:lnTo>
                  <a:lnTo>
                    <a:pt x="25" y="506"/>
                  </a:lnTo>
                  <a:lnTo>
                    <a:pt x="27" y="504"/>
                  </a:lnTo>
                  <a:lnTo>
                    <a:pt x="29" y="500"/>
                  </a:lnTo>
                  <a:lnTo>
                    <a:pt x="30" y="498"/>
                  </a:lnTo>
                  <a:lnTo>
                    <a:pt x="31" y="495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5"/>
                  </a:lnTo>
                  <a:lnTo>
                    <a:pt x="1" y="498"/>
                  </a:lnTo>
                  <a:lnTo>
                    <a:pt x="2" y="500"/>
                  </a:lnTo>
                  <a:lnTo>
                    <a:pt x="3" y="504"/>
                  </a:lnTo>
                  <a:lnTo>
                    <a:pt x="5" y="506"/>
                  </a:lnTo>
                  <a:lnTo>
                    <a:pt x="7" y="507"/>
                  </a:lnTo>
                  <a:lnTo>
                    <a:pt x="9" y="509"/>
                  </a:lnTo>
                  <a:lnTo>
                    <a:pt x="13" y="510"/>
                  </a:lnTo>
                  <a:lnTo>
                    <a:pt x="15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302"/>
            <p:cNvSpPr>
              <a:spLocks noEditPoints="1"/>
            </p:cNvSpPr>
            <p:nvPr/>
          </p:nvSpPr>
          <p:spPr bwMode="auto">
            <a:xfrm>
              <a:off x="11660188" y="982663"/>
              <a:ext cx="38100" cy="65088"/>
            </a:xfrm>
            <a:custGeom>
              <a:avLst/>
              <a:gdLst>
                <a:gd name="T0" fmla="*/ 91 w 121"/>
                <a:gd name="T1" fmla="*/ 179 h 209"/>
                <a:gd name="T2" fmla="*/ 30 w 121"/>
                <a:gd name="T3" fmla="*/ 179 h 209"/>
                <a:gd name="T4" fmla="*/ 30 w 121"/>
                <a:gd name="T5" fmla="*/ 30 h 209"/>
                <a:gd name="T6" fmla="*/ 91 w 121"/>
                <a:gd name="T7" fmla="*/ 30 h 209"/>
                <a:gd name="T8" fmla="*/ 91 w 121"/>
                <a:gd name="T9" fmla="*/ 179 h 209"/>
                <a:gd name="T10" fmla="*/ 106 w 121"/>
                <a:gd name="T11" fmla="*/ 0 h 209"/>
                <a:gd name="T12" fmla="*/ 15 w 121"/>
                <a:gd name="T13" fmla="*/ 0 h 209"/>
                <a:gd name="T14" fmla="*/ 13 w 121"/>
                <a:gd name="T15" fmla="*/ 0 h 209"/>
                <a:gd name="T16" fmla="*/ 9 w 121"/>
                <a:gd name="T17" fmla="*/ 1 h 209"/>
                <a:gd name="T18" fmla="*/ 7 w 121"/>
                <a:gd name="T19" fmla="*/ 2 h 209"/>
                <a:gd name="T20" fmla="*/ 5 w 121"/>
                <a:gd name="T21" fmla="*/ 4 h 209"/>
                <a:gd name="T22" fmla="*/ 3 w 121"/>
                <a:gd name="T23" fmla="*/ 6 h 209"/>
                <a:gd name="T24" fmla="*/ 1 w 121"/>
                <a:gd name="T25" fmla="*/ 10 h 209"/>
                <a:gd name="T26" fmla="*/ 1 w 121"/>
                <a:gd name="T27" fmla="*/ 12 h 209"/>
                <a:gd name="T28" fmla="*/ 0 w 121"/>
                <a:gd name="T29" fmla="*/ 15 h 209"/>
                <a:gd name="T30" fmla="*/ 0 w 121"/>
                <a:gd name="T31" fmla="*/ 194 h 209"/>
                <a:gd name="T32" fmla="*/ 1 w 121"/>
                <a:gd name="T33" fmla="*/ 198 h 209"/>
                <a:gd name="T34" fmla="*/ 1 w 121"/>
                <a:gd name="T35" fmla="*/ 201 h 209"/>
                <a:gd name="T36" fmla="*/ 3 w 121"/>
                <a:gd name="T37" fmla="*/ 203 h 209"/>
                <a:gd name="T38" fmla="*/ 5 w 121"/>
                <a:gd name="T39" fmla="*/ 205 h 209"/>
                <a:gd name="T40" fmla="*/ 7 w 121"/>
                <a:gd name="T41" fmla="*/ 207 h 209"/>
                <a:gd name="T42" fmla="*/ 9 w 121"/>
                <a:gd name="T43" fmla="*/ 208 h 209"/>
                <a:gd name="T44" fmla="*/ 13 w 121"/>
                <a:gd name="T45" fmla="*/ 209 h 209"/>
                <a:gd name="T46" fmla="*/ 15 w 121"/>
                <a:gd name="T47" fmla="*/ 209 h 209"/>
                <a:gd name="T48" fmla="*/ 106 w 121"/>
                <a:gd name="T49" fmla="*/ 209 h 209"/>
                <a:gd name="T50" fmla="*/ 108 w 121"/>
                <a:gd name="T51" fmla="*/ 209 h 209"/>
                <a:gd name="T52" fmla="*/ 111 w 121"/>
                <a:gd name="T53" fmla="*/ 208 h 209"/>
                <a:gd name="T54" fmla="*/ 113 w 121"/>
                <a:gd name="T55" fmla="*/ 207 h 209"/>
                <a:gd name="T56" fmla="*/ 116 w 121"/>
                <a:gd name="T57" fmla="*/ 205 h 209"/>
                <a:gd name="T58" fmla="*/ 117 w 121"/>
                <a:gd name="T59" fmla="*/ 203 h 209"/>
                <a:gd name="T60" fmla="*/ 119 w 121"/>
                <a:gd name="T61" fmla="*/ 201 h 209"/>
                <a:gd name="T62" fmla="*/ 119 w 121"/>
                <a:gd name="T63" fmla="*/ 198 h 209"/>
                <a:gd name="T64" fmla="*/ 121 w 121"/>
                <a:gd name="T65" fmla="*/ 194 h 209"/>
                <a:gd name="T66" fmla="*/ 121 w 121"/>
                <a:gd name="T67" fmla="*/ 15 h 209"/>
                <a:gd name="T68" fmla="*/ 119 w 121"/>
                <a:gd name="T69" fmla="*/ 12 h 209"/>
                <a:gd name="T70" fmla="*/ 119 w 121"/>
                <a:gd name="T71" fmla="*/ 10 h 209"/>
                <a:gd name="T72" fmla="*/ 117 w 121"/>
                <a:gd name="T73" fmla="*/ 6 h 209"/>
                <a:gd name="T74" fmla="*/ 116 w 121"/>
                <a:gd name="T75" fmla="*/ 4 h 209"/>
                <a:gd name="T76" fmla="*/ 113 w 121"/>
                <a:gd name="T77" fmla="*/ 2 h 209"/>
                <a:gd name="T78" fmla="*/ 111 w 121"/>
                <a:gd name="T79" fmla="*/ 1 h 209"/>
                <a:gd name="T80" fmla="*/ 108 w 121"/>
                <a:gd name="T81" fmla="*/ 0 h 209"/>
                <a:gd name="T82" fmla="*/ 106 w 121"/>
                <a:gd name="T83" fmla="*/ 0 h 209"/>
                <a:gd name="T84" fmla="*/ 106 w 121"/>
                <a:gd name="T8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209">
                  <a:moveTo>
                    <a:pt x="91" y="179"/>
                  </a:moveTo>
                  <a:lnTo>
                    <a:pt x="30" y="179"/>
                  </a:lnTo>
                  <a:lnTo>
                    <a:pt x="30" y="30"/>
                  </a:lnTo>
                  <a:lnTo>
                    <a:pt x="91" y="30"/>
                  </a:lnTo>
                  <a:lnTo>
                    <a:pt x="91" y="179"/>
                  </a:lnTo>
                  <a:close/>
                  <a:moveTo>
                    <a:pt x="10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1" y="201"/>
                  </a:lnTo>
                  <a:lnTo>
                    <a:pt x="3" y="203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9" y="208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06" y="209"/>
                  </a:lnTo>
                  <a:lnTo>
                    <a:pt x="108" y="209"/>
                  </a:lnTo>
                  <a:lnTo>
                    <a:pt x="111" y="208"/>
                  </a:lnTo>
                  <a:lnTo>
                    <a:pt x="113" y="207"/>
                  </a:lnTo>
                  <a:lnTo>
                    <a:pt x="116" y="205"/>
                  </a:lnTo>
                  <a:lnTo>
                    <a:pt x="117" y="203"/>
                  </a:lnTo>
                  <a:lnTo>
                    <a:pt x="119" y="201"/>
                  </a:lnTo>
                  <a:lnTo>
                    <a:pt x="119" y="198"/>
                  </a:lnTo>
                  <a:lnTo>
                    <a:pt x="121" y="194"/>
                  </a:lnTo>
                  <a:lnTo>
                    <a:pt x="121" y="15"/>
                  </a:lnTo>
                  <a:lnTo>
                    <a:pt x="119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3" y="2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303"/>
            <p:cNvSpPr/>
            <p:nvPr/>
          </p:nvSpPr>
          <p:spPr bwMode="auto">
            <a:xfrm>
              <a:off x="11736388" y="906463"/>
              <a:ext cx="9525" cy="114300"/>
            </a:xfrm>
            <a:custGeom>
              <a:avLst/>
              <a:gdLst>
                <a:gd name="T0" fmla="*/ 15 w 30"/>
                <a:gd name="T1" fmla="*/ 360 h 360"/>
                <a:gd name="T2" fmla="*/ 18 w 30"/>
                <a:gd name="T3" fmla="*/ 360 h 360"/>
                <a:gd name="T4" fmla="*/ 20 w 30"/>
                <a:gd name="T5" fmla="*/ 358 h 360"/>
                <a:gd name="T6" fmla="*/ 24 w 30"/>
                <a:gd name="T7" fmla="*/ 357 h 360"/>
                <a:gd name="T8" fmla="*/ 26 w 30"/>
                <a:gd name="T9" fmla="*/ 355 h 360"/>
                <a:gd name="T10" fmla="*/ 28 w 30"/>
                <a:gd name="T11" fmla="*/ 353 h 360"/>
                <a:gd name="T12" fmla="*/ 29 w 30"/>
                <a:gd name="T13" fmla="*/ 351 h 360"/>
                <a:gd name="T14" fmla="*/ 30 w 30"/>
                <a:gd name="T15" fmla="*/ 348 h 360"/>
                <a:gd name="T16" fmla="*/ 30 w 30"/>
                <a:gd name="T17" fmla="*/ 345 h 360"/>
                <a:gd name="T18" fmla="*/ 30 w 30"/>
                <a:gd name="T19" fmla="*/ 14 h 360"/>
                <a:gd name="T20" fmla="*/ 30 w 30"/>
                <a:gd name="T21" fmla="*/ 12 h 360"/>
                <a:gd name="T22" fmla="*/ 29 w 30"/>
                <a:gd name="T23" fmla="*/ 9 h 360"/>
                <a:gd name="T24" fmla="*/ 28 w 30"/>
                <a:gd name="T25" fmla="*/ 7 h 360"/>
                <a:gd name="T26" fmla="*/ 26 w 30"/>
                <a:gd name="T27" fmla="*/ 4 h 360"/>
                <a:gd name="T28" fmla="*/ 24 w 30"/>
                <a:gd name="T29" fmla="*/ 3 h 360"/>
                <a:gd name="T30" fmla="*/ 20 w 30"/>
                <a:gd name="T31" fmla="*/ 1 h 360"/>
                <a:gd name="T32" fmla="*/ 18 w 30"/>
                <a:gd name="T33" fmla="*/ 1 h 360"/>
                <a:gd name="T34" fmla="*/ 15 w 30"/>
                <a:gd name="T35" fmla="*/ 0 h 360"/>
                <a:gd name="T36" fmla="*/ 12 w 30"/>
                <a:gd name="T37" fmla="*/ 1 h 360"/>
                <a:gd name="T38" fmla="*/ 10 w 30"/>
                <a:gd name="T39" fmla="*/ 1 h 360"/>
                <a:gd name="T40" fmla="*/ 7 w 30"/>
                <a:gd name="T41" fmla="*/ 3 h 360"/>
                <a:gd name="T42" fmla="*/ 4 w 30"/>
                <a:gd name="T43" fmla="*/ 4 h 360"/>
                <a:gd name="T44" fmla="*/ 2 w 30"/>
                <a:gd name="T45" fmla="*/ 7 h 360"/>
                <a:gd name="T46" fmla="*/ 1 w 30"/>
                <a:gd name="T47" fmla="*/ 9 h 360"/>
                <a:gd name="T48" fmla="*/ 0 w 30"/>
                <a:gd name="T49" fmla="*/ 12 h 360"/>
                <a:gd name="T50" fmla="*/ 0 w 30"/>
                <a:gd name="T51" fmla="*/ 14 h 360"/>
                <a:gd name="T52" fmla="*/ 0 w 30"/>
                <a:gd name="T53" fmla="*/ 345 h 360"/>
                <a:gd name="T54" fmla="*/ 0 w 30"/>
                <a:gd name="T55" fmla="*/ 348 h 360"/>
                <a:gd name="T56" fmla="*/ 1 w 30"/>
                <a:gd name="T57" fmla="*/ 351 h 360"/>
                <a:gd name="T58" fmla="*/ 2 w 30"/>
                <a:gd name="T59" fmla="*/ 353 h 360"/>
                <a:gd name="T60" fmla="*/ 4 w 30"/>
                <a:gd name="T61" fmla="*/ 355 h 360"/>
                <a:gd name="T62" fmla="*/ 7 w 30"/>
                <a:gd name="T63" fmla="*/ 357 h 360"/>
                <a:gd name="T64" fmla="*/ 10 w 30"/>
                <a:gd name="T65" fmla="*/ 358 h 360"/>
                <a:gd name="T66" fmla="*/ 12 w 30"/>
                <a:gd name="T67" fmla="*/ 360 h 360"/>
                <a:gd name="T68" fmla="*/ 15 w 30"/>
                <a:gd name="T6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360">
                  <a:moveTo>
                    <a:pt x="15" y="360"/>
                  </a:moveTo>
                  <a:lnTo>
                    <a:pt x="18" y="360"/>
                  </a:lnTo>
                  <a:lnTo>
                    <a:pt x="20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5"/>
                  </a:lnTo>
                  <a:lnTo>
                    <a:pt x="7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304"/>
            <p:cNvSpPr/>
            <p:nvPr/>
          </p:nvSpPr>
          <p:spPr bwMode="auto">
            <a:xfrm>
              <a:off x="11612563" y="858838"/>
              <a:ext cx="9525" cy="169863"/>
            </a:xfrm>
            <a:custGeom>
              <a:avLst/>
              <a:gdLst>
                <a:gd name="T0" fmla="*/ 15 w 30"/>
                <a:gd name="T1" fmla="*/ 0 h 539"/>
                <a:gd name="T2" fmla="*/ 12 w 30"/>
                <a:gd name="T3" fmla="*/ 0 h 539"/>
                <a:gd name="T4" fmla="*/ 10 w 30"/>
                <a:gd name="T5" fmla="*/ 1 h 539"/>
                <a:gd name="T6" fmla="*/ 7 w 30"/>
                <a:gd name="T7" fmla="*/ 2 h 539"/>
                <a:gd name="T8" fmla="*/ 4 w 30"/>
                <a:gd name="T9" fmla="*/ 4 h 539"/>
                <a:gd name="T10" fmla="*/ 2 w 30"/>
                <a:gd name="T11" fmla="*/ 6 h 539"/>
                <a:gd name="T12" fmla="*/ 1 w 30"/>
                <a:gd name="T13" fmla="*/ 10 h 539"/>
                <a:gd name="T14" fmla="*/ 0 w 30"/>
                <a:gd name="T15" fmla="*/ 12 h 539"/>
                <a:gd name="T16" fmla="*/ 0 w 30"/>
                <a:gd name="T17" fmla="*/ 15 h 539"/>
                <a:gd name="T18" fmla="*/ 0 w 30"/>
                <a:gd name="T19" fmla="*/ 525 h 539"/>
                <a:gd name="T20" fmla="*/ 0 w 30"/>
                <a:gd name="T21" fmla="*/ 528 h 539"/>
                <a:gd name="T22" fmla="*/ 1 w 30"/>
                <a:gd name="T23" fmla="*/ 531 h 539"/>
                <a:gd name="T24" fmla="*/ 2 w 30"/>
                <a:gd name="T25" fmla="*/ 533 h 539"/>
                <a:gd name="T26" fmla="*/ 4 w 30"/>
                <a:gd name="T27" fmla="*/ 535 h 539"/>
                <a:gd name="T28" fmla="*/ 7 w 30"/>
                <a:gd name="T29" fmla="*/ 537 h 539"/>
                <a:gd name="T30" fmla="*/ 10 w 30"/>
                <a:gd name="T31" fmla="*/ 538 h 539"/>
                <a:gd name="T32" fmla="*/ 12 w 30"/>
                <a:gd name="T33" fmla="*/ 539 h 539"/>
                <a:gd name="T34" fmla="*/ 15 w 30"/>
                <a:gd name="T35" fmla="*/ 539 h 539"/>
                <a:gd name="T36" fmla="*/ 18 w 30"/>
                <a:gd name="T37" fmla="*/ 539 h 539"/>
                <a:gd name="T38" fmla="*/ 22 w 30"/>
                <a:gd name="T39" fmla="*/ 538 h 539"/>
                <a:gd name="T40" fmla="*/ 24 w 30"/>
                <a:gd name="T41" fmla="*/ 537 h 539"/>
                <a:gd name="T42" fmla="*/ 26 w 30"/>
                <a:gd name="T43" fmla="*/ 535 h 539"/>
                <a:gd name="T44" fmla="*/ 28 w 30"/>
                <a:gd name="T45" fmla="*/ 533 h 539"/>
                <a:gd name="T46" fmla="*/ 29 w 30"/>
                <a:gd name="T47" fmla="*/ 531 h 539"/>
                <a:gd name="T48" fmla="*/ 30 w 30"/>
                <a:gd name="T49" fmla="*/ 528 h 539"/>
                <a:gd name="T50" fmla="*/ 30 w 30"/>
                <a:gd name="T51" fmla="*/ 525 h 539"/>
                <a:gd name="T52" fmla="*/ 30 w 30"/>
                <a:gd name="T53" fmla="*/ 15 h 539"/>
                <a:gd name="T54" fmla="*/ 30 w 30"/>
                <a:gd name="T55" fmla="*/ 12 h 539"/>
                <a:gd name="T56" fmla="*/ 29 w 30"/>
                <a:gd name="T57" fmla="*/ 10 h 539"/>
                <a:gd name="T58" fmla="*/ 28 w 30"/>
                <a:gd name="T59" fmla="*/ 6 h 539"/>
                <a:gd name="T60" fmla="*/ 26 w 30"/>
                <a:gd name="T61" fmla="*/ 4 h 539"/>
                <a:gd name="T62" fmla="*/ 24 w 30"/>
                <a:gd name="T63" fmla="*/ 2 h 539"/>
                <a:gd name="T64" fmla="*/ 22 w 30"/>
                <a:gd name="T65" fmla="*/ 1 h 539"/>
                <a:gd name="T66" fmla="*/ 18 w 30"/>
                <a:gd name="T67" fmla="*/ 0 h 539"/>
                <a:gd name="T68" fmla="*/ 15 w 30"/>
                <a:gd name="T6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539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25"/>
                  </a:lnTo>
                  <a:lnTo>
                    <a:pt x="0" y="528"/>
                  </a:lnTo>
                  <a:lnTo>
                    <a:pt x="1" y="531"/>
                  </a:lnTo>
                  <a:lnTo>
                    <a:pt x="2" y="533"/>
                  </a:lnTo>
                  <a:lnTo>
                    <a:pt x="4" y="535"/>
                  </a:lnTo>
                  <a:lnTo>
                    <a:pt x="7" y="537"/>
                  </a:lnTo>
                  <a:lnTo>
                    <a:pt x="10" y="538"/>
                  </a:lnTo>
                  <a:lnTo>
                    <a:pt x="12" y="539"/>
                  </a:lnTo>
                  <a:lnTo>
                    <a:pt x="15" y="539"/>
                  </a:lnTo>
                  <a:lnTo>
                    <a:pt x="18" y="539"/>
                  </a:lnTo>
                  <a:lnTo>
                    <a:pt x="22" y="538"/>
                  </a:lnTo>
                  <a:lnTo>
                    <a:pt x="24" y="537"/>
                  </a:lnTo>
                  <a:lnTo>
                    <a:pt x="26" y="535"/>
                  </a:lnTo>
                  <a:lnTo>
                    <a:pt x="28" y="533"/>
                  </a:lnTo>
                  <a:lnTo>
                    <a:pt x="29" y="531"/>
                  </a:lnTo>
                  <a:lnTo>
                    <a:pt x="30" y="528"/>
                  </a:lnTo>
                  <a:lnTo>
                    <a:pt x="30" y="52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305"/>
            <p:cNvSpPr>
              <a:spLocks noEditPoints="1"/>
            </p:cNvSpPr>
            <p:nvPr/>
          </p:nvSpPr>
          <p:spPr bwMode="auto">
            <a:xfrm>
              <a:off x="11593513" y="782638"/>
              <a:ext cx="285750" cy="285750"/>
            </a:xfrm>
            <a:custGeom>
              <a:avLst/>
              <a:gdLst>
                <a:gd name="T0" fmla="*/ 559 w 900"/>
                <a:gd name="T1" fmla="*/ 179 h 900"/>
                <a:gd name="T2" fmla="*/ 866 w 900"/>
                <a:gd name="T3" fmla="*/ 838 h 900"/>
                <a:gd name="T4" fmla="*/ 570 w 900"/>
                <a:gd name="T5" fmla="*/ 869 h 900"/>
                <a:gd name="T6" fmla="*/ 390 w 900"/>
                <a:gd name="T7" fmla="*/ 330 h 900"/>
                <a:gd name="T8" fmla="*/ 570 w 900"/>
                <a:gd name="T9" fmla="*/ 869 h 900"/>
                <a:gd name="T10" fmla="*/ 180 w 900"/>
                <a:gd name="T11" fmla="*/ 29 h 900"/>
                <a:gd name="T12" fmla="*/ 360 w 900"/>
                <a:gd name="T13" fmla="*/ 315 h 900"/>
                <a:gd name="T14" fmla="*/ 180 w 900"/>
                <a:gd name="T15" fmla="*/ 869 h 900"/>
                <a:gd name="T16" fmla="*/ 30 w 900"/>
                <a:gd name="T17" fmla="*/ 150 h 900"/>
                <a:gd name="T18" fmla="*/ 150 w 900"/>
                <a:gd name="T19" fmla="*/ 869 h 900"/>
                <a:gd name="T20" fmla="*/ 30 w 900"/>
                <a:gd name="T21" fmla="*/ 150 h 900"/>
                <a:gd name="T22" fmla="*/ 660 w 900"/>
                <a:gd name="T23" fmla="*/ 128 h 900"/>
                <a:gd name="T24" fmla="*/ 656 w 900"/>
                <a:gd name="T25" fmla="*/ 122 h 900"/>
                <a:gd name="T26" fmla="*/ 652 w 900"/>
                <a:gd name="T27" fmla="*/ 119 h 900"/>
                <a:gd name="T28" fmla="*/ 646 w 900"/>
                <a:gd name="T29" fmla="*/ 118 h 900"/>
                <a:gd name="T30" fmla="*/ 640 w 900"/>
                <a:gd name="T31" fmla="*/ 118 h 900"/>
                <a:gd name="T32" fmla="*/ 532 w 900"/>
                <a:gd name="T33" fmla="*/ 157 h 900"/>
                <a:gd name="T34" fmla="*/ 528 w 900"/>
                <a:gd name="T35" fmla="*/ 161 h 900"/>
                <a:gd name="T36" fmla="*/ 526 w 900"/>
                <a:gd name="T37" fmla="*/ 165 h 900"/>
                <a:gd name="T38" fmla="*/ 525 w 900"/>
                <a:gd name="T39" fmla="*/ 172 h 900"/>
                <a:gd name="T40" fmla="*/ 568 w 900"/>
                <a:gd name="T41" fmla="*/ 300 h 900"/>
                <a:gd name="T42" fmla="*/ 390 w 900"/>
                <a:gd name="T43" fmla="*/ 15 h 900"/>
                <a:gd name="T44" fmla="*/ 389 w 900"/>
                <a:gd name="T45" fmla="*/ 9 h 900"/>
                <a:gd name="T46" fmla="*/ 386 w 900"/>
                <a:gd name="T47" fmla="*/ 5 h 900"/>
                <a:gd name="T48" fmla="*/ 381 w 900"/>
                <a:gd name="T49" fmla="*/ 2 h 900"/>
                <a:gd name="T50" fmla="*/ 375 w 900"/>
                <a:gd name="T51" fmla="*/ 0 h 900"/>
                <a:gd name="T52" fmla="*/ 162 w 900"/>
                <a:gd name="T53" fmla="*/ 1 h 900"/>
                <a:gd name="T54" fmla="*/ 156 w 900"/>
                <a:gd name="T55" fmla="*/ 3 h 900"/>
                <a:gd name="T56" fmla="*/ 153 w 900"/>
                <a:gd name="T57" fmla="*/ 7 h 900"/>
                <a:gd name="T58" fmla="*/ 151 w 900"/>
                <a:gd name="T59" fmla="*/ 12 h 900"/>
                <a:gd name="T60" fmla="*/ 150 w 900"/>
                <a:gd name="T61" fmla="*/ 120 h 900"/>
                <a:gd name="T62" fmla="*/ 12 w 900"/>
                <a:gd name="T63" fmla="*/ 120 h 900"/>
                <a:gd name="T64" fmla="*/ 7 w 900"/>
                <a:gd name="T65" fmla="*/ 122 h 900"/>
                <a:gd name="T66" fmla="*/ 3 w 900"/>
                <a:gd name="T67" fmla="*/ 127 h 900"/>
                <a:gd name="T68" fmla="*/ 0 w 900"/>
                <a:gd name="T69" fmla="*/ 132 h 900"/>
                <a:gd name="T70" fmla="*/ 0 w 900"/>
                <a:gd name="T71" fmla="*/ 885 h 900"/>
                <a:gd name="T72" fmla="*/ 1 w 900"/>
                <a:gd name="T73" fmla="*/ 891 h 900"/>
                <a:gd name="T74" fmla="*/ 5 w 900"/>
                <a:gd name="T75" fmla="*/ 895 h 900"/>
                <a:gd name="T76" fmla="*/ 9 w 900"/>
                <a:gd name="T77" fmla="*/ 898 h 900"/>
                <a:gd name="T78" fmla="*/ 15 w 900"/>
                <a:gd name="T79" fmla="*/ 900 h 900"/>
                <a:gd name="T80" fmla="*/ 375 w 900"/>
                <a:gd name="T81" fmla="*/ 900 h 900"/>
                <a:gd name="T82" fmla="*/ 588 w 900"/>
                <a:gd name="T83" fmla="*/ 899 h 900"/>
                <a:gd name="T84" fmla="*/ 593 w 900"/>
                <a:gd name="T85" fmla="*/ 897 h 900"/>
                <a:gd name="T86" fmla="*/ 598 w 900"/>
                <a:gd name="T87" fmla="*/ 893 h 900"/>
                <a:gd name="T88" fmla="*/ 600 w 900"/>
                <a:gd name="T89" fmla="*/ 887 h 900"/>
                <a:gd name="T90" fmla="*/ 600 w 900"/>
                <a:gd name="T91" fmla="*/ 396 h 900"/>
                <a:gd name="T92" fmla="*/ 768 w 900"/>
                <a:gd name="T93" fmla="*/ 893 h 900"/>
                <a:gd name="T94" fmla="*/ 771 w 900"/>
                <a:gd name="T95" fmla="*/ 897 h 900"/>
                <a:gd name="T96" fmla="*/ 777 w 900"/>
                <a:gd name="T97" fmla="*/ 899 h 900"/>
                <a:gd name="T98" fmla="*/ 782 w 900"/>
                <a:gd name="T99" fmla="*/ 899 h 900"/>
                <a:gd name="T100" fmla="*/ 890 w 900"/>
                <a:gd name="T101" fmla="*/ 862 h 900"/>
                <a:gd name="T102" fmla="*/ 897 w 900"/>
                <a:gd name="T103" fmla="*/ 856 h 900"/>
                <a:gd name="T104" fmla="*/ 900 w 900"/>
                <a:gd name="T105" fmla="*/ 848 h 900"/>
                <a:gd name="T106" fmla="*/ 899 w 900"/>
                <a:gd name="T107" fmla="*/ 84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0" h="900">
                  <a:moveTo>
                    <a:pt x="790" y="866"/>
                  </a:moveTo>
                  <a:lnTo>
                    <a:pt x="559" y="179"/>
                  </a:lnTo>
                  <a:lnTo>
                    <a:pt x="636" y="151"/>
                  </a:lnTo>
                  <a:lnTo>
                    <a:pt x="866" y="838"/>
                  </a:lnTo>
                  <a:lnTo>
                    <a:pt x="790" y="866"/>
                  </a:lnTo>
                  <a:close/>
                  <a:moveTo>
                    <a:pt x="570" y="869"/>
                  </a:moveTo>
                  <a:lnTo>
                    <a:pt x="390" y="869"/>
                  </a:lnTo>
                  <a:lnTo>
                    <a:pt x="390" y="330"/>
                  </a:lnTo>
                  <a:lnTo>
                    <a:pt x="570" y="330"/>
                  </a:lnTo>
                  <a:lnTo>
                    <a:pt x="570" y="869"/>
                  </a:lnTo>
                  <a:close/>
                  <a:moveTo>
                    <a:pt x="180" y="135"/>
                  </a:moveTo>
                  <a:lnTo>
                    <a:pt x="180" y="29"/>
                  </a:lnTo>
                  <a:lnTo>
                    <a:pt x="360" y="29"/>
                  </a:lnTo>
                  <a:lnTo>
                    <a:pt x="360" y="315"/>
                  </a:lnTo>
                  <a:lnTo>
                    <a:pt x="360" y="869"/>
                  </a:lnTo>
                  <a:lnTo>
                    <a:pt x="180" y="869"/>
                  </a:lnTo>
                  <a:lnTo>
                    <a:pt x="180" y="135"/>
                  </a:lnTo>
                  <a:close/>
                  <a:moveTo>
                    <a:pt x="30" y="150"/>
                  </a:moveTo>
                  <a:lnTo>
                    <a:pt x="150" y="150"/>
                  </a:lnTo>
                  <a:lnTo>
                    <a:pt x="150" y="869"/>
                  </a:lnTo>
                  <a:lnTo>
                    <a:pt x="30" y="869"/>
                  </a:lnTo>
                  <a:lnTo>
                    <a:pt x="30" y="150"/>
                  </a:lnTo>
                  <a:close/>
                  <a:moveTo>
                    <a:pt x="899" y="843"/>
                  </a:moveTo>
                  <a:lnTo>
                    <a:pt x="660" y="128"/>
                  </a:lnTo>
                  <a:lnTo>
                    <a:pt x="659" y="125"/>
                  </a:lnTo>
                  <a:lnTo>
                    <a:pt x="656" y="122"/>
                  </a:lnTo>
                  <a:lnTo>
                    <a:pt x="654" y="120"/>
                  </a:lnTo>
                  <a:lnTo>
                    <a:pt x="652" y="119"/>
                  </a:lnTo>
                  <a:lnTo>
                    <a:pt x="649" y="118"/>
                  </a:lnTo>
                  <a:lnTo>
                    <a:pt x="646" y="118"/>
                  </a:lnTo>
                  <a:lnTo>
                    <a:pt x="643" y="118"/>
                  </a:lnTo>
                  <a:lnTo>
                    <a:pt x="640" y="118"/>
                  </a:lnTo>
                  <a:lnTo>
                    <a:pt x="536" y="156"/>
                  </a:lnTo>
                  <a:lnTo>
                    <a:pt x="532" y="157"/>
                  </a:lnTo>
                  <a:lnTo>
                    <a:pt x="530" y="159"/>
                  </a:lnTo>
                  <a:lnTo>
                    <a:pt x="528" y="161"/>
                  </a:lnTo>
                  <a:lnTo>
                    <a:pt x="527" y="163"/>
                  </a:lnTo>
                  <a:lnTo>
                    <a:pt x="526" y="165"/>
                  </a:lnTo>
                  <a:lnTo>
                    <a:pt x="525" y="168"/>
                  </a:lnTo>
                  <a:lnTo>
                    <a:pt x="525" y="172"/>
                  </a:lnTo>
                  <a:lnTo>
                    <a:pt x="526" y="175"/>
                  </a:lnTo>
                  <a:lnTo>
                    <a:pt x="568" y="300"/>
                  </a:lnTo>
                  <a:lnTo>
                    <a:pt x="390" y="300"/>
                  </a:lnTo>
                  <a:lnTo>
                    <a:pt x="390" y="15"/>
                  </a:lnTo>
                  <a:lnTo>
                    <a:pt x="390" y="12"/>
                  </a:lnTo>
                  <a:lnTo>
                    <a:pt x="389" y="9"/>
                  </a:lnTo>
                  <a:lnTo>
                    <a:pt x="387" y="7"/>
                  </a:lnTo>
                  <a:lnTo>
                    <a:pt x="386" y="5"/>
                  </a:lnTo>
                  <a:lnTo>
                    <a:pt x="384" y="3"/>
                  </a:lnTo>
                  <a:lnTo>
                    <a:pt x="381" y="2"/>
                  </a:lnTo>
                  <a:lnTo>
                    <a:pt x="379" y="1"/>
                  </a:lnTo>
                  <a:lnTo>
                    <a:pt x="375" y="0"/>
                  </a:lnTo>
                  <a:lnTo>
                    <a:pt x="165" y="0"/>
                  </a:lnTo>
                  <a:lnTo>
                    <a:pt x="162" y="1"/>
                  </a:lnTo>
                  <a:lnTo>
                    <a:pt x="160" y="2"/>
                  </a:lnTo>
                  <a:lnTo>
                    <a:pt x="156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9" y="121"/>
                  </a:lnTo>
                  <a:lnTo>
                    <a:pt x="7" y="122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88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3" y="893"/>
                  </a:lnTo>
                  <a:lnTo>
                    <a:pt x="5" y="895"/>
                  </a:lnTo>
                  <a:lnTo>
                    <a:pt x="7" y="897"/>
                  </a:lnTo>
                  <a:lnTo>
                    <a:pt x="9" y="898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165" y="900"/>
                  </a:lnTo>
                  <a:lnTo>
                    <a:pt x="375" y="900"/>
                  </a:lnTo>
                  <a:lnTo>
                    <a:pt x="585" y="900"/>
                  </a:lnTo>
                  <a:lnTo>
                    <a:pt x="588" y="899"/>
                  </a:lnTo>
                  <a:lnTo>
                    <a:pt x="591" y="898"/>
                  </a:lnTo>
                  <a:lnTo>
                    <a:pt x="593" y="897"/>
                  </a:lnTo>
                  <a:lnTo>
                    <a:pt x="595" y="895"/>
                  </a:lnTo>
                  <a:lnTo>
                    <a:pt x="598" y="893"/>
                  </a:lnTo>
                  <a:lnTo>
                    <a:pt x="599" y="891"/>
                  </a:lnTo>
                  <a:lnTo>
                    <a:pt x="600" y="887"/>
                  </a:lnTo>
                  <a:lnTo>
                    <a:pt x="600" y="885"/>
                  </a:lnTo>
                  <a:lnTo>
                    <a:pt x="600" y="396"/>
                  </a:lnTo>
                  <a:lnTo>
                    <a:pt x="765" y="890"/>
                  </a:lnTo>
                  <a:lnTo>
                    <a:pt x="768" y="893"/>
                  </a:lnTo>
                  <a:lnTo>
                    <a:pt x="769" y="895"/>
                  </a:lnTo>
                  <a:lnTo>
                    <a:pt x="771" y="897"/>
                  </a:lnTo>
                  <a:lnTo>
                    <a:pt x="774" y="898"/>
                  </a:lnTo>
                  <a:lnTo>
                    <a:pt x="777" y="899"/>
                  </a:lnTo>
                  <a:lnTo>
                    <a:pt x="780" y="900"/>
                  </a:lnTo>
                  <a:lnTo>
                    <a:pt x="782" y="899"/>
                  </a:lnTo>
                  <a:lnTo>
                    <a:pt x="785" y="899"/>
                  </a:lnTo>
                  <a:lnTo>
                    <a:pt x="890" y="862"/>
                  </a:lnTo>
                  <a:lnTo>
                    <a:pt x="895" y="860"/>
                  </a:lnTo>
                  <a:lnTo>
                    <a:pt x="897" y="856"/>
                  </a:lnTo>
                  <a:lnTo>
                    <a:pt x="899" y="852"/>
                  </a:lnTo>
                  <a:lnTo>
                    <a:pt x="900" y="848"/>
                  </a:lnTo>
                  <a:lnTo>
                    <a:pt x="900" y="846"/>
                  </a:lnTo>
                  <a:lnTo>
                    <a:pt x="899" y="844"/>
                  </a:lnTo>
                  <a:lnTo>
                    <a:pt x="899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806078" y="1210297"/>
            <a:ext cx="579845" cy="583066"/>
            <a:chOff x="10455275" y="2498725"/>
            <a:chExt cx="285750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06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038600" y="1070945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38600" y="5230082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132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2132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639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639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1095811"/>
            <a:ext cx="12192000" cy="501470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2485972" y="1323460"/>
            <a:ext cx="7220056" cy="4546584"/>
            <a:chOff x="851912" y="1153867"/>
            <a:chExt cx="7758688" cy="4885770"/>
          </a:xfrm>
        </p:grpSpPr>
        <p:sp>
          <p:nvSpPr>
            <p:cNvPr id="33" name="Freeform 8"/>
            <p:cNvSpPr>
              <a:spLocks noChangeArrowheads="1"/>
            </p:cNvSpPr>
            <p:nvPr/>
          </p:nvSpPr>
          <p:spPr bwMode="auto">
            <a:xfrm>
              <a:off x="851912" y="2734708"/>
              <a:ext cx="1288396" cy="3304927"/>
            </a:xfrm>
            <a:custGeom>
              <a:avLst/>
              <a:gdLst>
                <a:gd name="connsiteX0" fmla="*/ 0 w 1011238"/>
                <a:gd name="connsiteY0" fmla="*/ 0 h 2593976"/>
                <a:gd name="connsiteX1" fmla="*/ 1011238 w 1011238"/>
                <a:gd name="connsiteY1" fmla="*/ 0 h 2593976"/>
                <a:gd name="connsiteX2" fmla="*/ 1011238 w 1011238"/>
                <a:gd name="connsiteY2" fmla="*/ 2338387 h 2593976"/>
                <a:gd name="connsiteX3" fmla="*/ 1011238 w 1011238"/>
                <a:gd name="connsiteY3" fmla="*/ 2338387 h 2593976"/>
                <a:gd name="connsiteX4" fmla="*/ 1011238 w 1011238"/>
                <a:gd name="connsiteY4" fmla="*/ 2338388 h 2593976"/>
                <a:gd name="connsiteX5" fmla="*/ 505619 w 1011238"/>
                <a:gd name="connsiteY5" fmla="*/ 2593976 h 2593976"/>
                <a:gd name="connsiteX6" fmla="*/ 0 w 1011238"/>
                <a:gd name="connsiteY6" fmla="*/ 2338388 h 2593976"/>
                <a:gd name="connsiteX7" fmla="*/ 0 w 1011238"/>
                <a:gd name="connsiteY7" fmla="*/ 2338387 h 2593976"/>
                <a:gd name="connsiteX8" fmla="*/ 0 w 1011238"/>
                <a:gd name="connsiteY8" fmla="*/ 2338387 h 2593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1238" h="2593976">
                  <a:moveTo>
                    <a:pt x="0" y="0"/>
                  </a:moveTo>
                  <a:lnTo>
                    <a:pt x="1011238" y="0"/>
                  </a:lnTo>
                  <a:lnTo>
                    <a:pt x="1011238" y="2338387"/>
                  </a:lnTo>
                  <a:lnTo>
                    <a:pt x="1011238" y="2338387"/>
                  </a:lnTo>
                  <a:lnTo>
                    <a:pt x="1011238" y="2338388"/>
                  </a:lnTo>
                  <a:cubicBezTo>
                    <a:pt x="1011238" y="2479545"/>
                    <a:pt x="784865" y="2593976"/>
                    <a:pt x="505619" y="2593976"/>
                  </a:cubicBezTo>
                  <a:cubicBezTo>
                    <a:pt x="226373" y="2593976"/>
                    <a:pt x="0" y="2479545"/>
                    <a:pt x="0" y="2338388"/>
                  </a:cubicBezTo>
                  <a:lnTo>
                    <a:pt x="0" y="2338387"/>
                  </a:lnTo>
                  <a:lnTo>
                    <a:pt x="0" y="233838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Oval 29"/>
            <p:cNvSpPr>
              <a:spLocks noChangeArrowheads="1"/>
            </p:cNvSpPr>
            <p:nvPr/>
          </p:nvSpPr>
          <p:spPr bwMode="auto">
            <a:xfrm>
              <a:off x="851912" y="2409071"/>
              <a:ext cx="1288396" cy="65127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0"/>
            <p:cNvSpPr>
              <a:spLocks noChangeArrowheads="1"/>
            </p:cNvSpPr>
            <p:nvPr/>
          </p:nvSpPr>
          <p:spPr bwMode="auto">
            <a:xfrm>
              <a:off x="2465944" y="4702697"/>
              <a:ext cx="1290419" cy="1336940"/>
            </a:xfrm>
            <a:custGeom>
              <a:avLst/>
              <a:gdLst>
                <a:gd name="connsiteX0" fmla="*/ 0 w 1012826"/>
                <a:gd name="connsiteY0" fmla="*/ 0 h 1049339"/>
                <a:gd name="connsiteX1" fmla="*/ 1012825 w 1012826"/>
                <a:gd name="connsiteY1" fmla="*/ 0 h 1049339"/>
                <a:gd name="connsiteX2" fmla="*/ 1012825 w 1012826"/>
                <a:gd name="connsiteY2" fmla="*/ 793746 h 1049339"/>
                <a:gd name="connsiteX3" fmla="*/ 1012826 w 1012826"/>
                <a:gd name="connsiteY3" fmla="*/ 793751 h 1049339"/>
                <a:gd name="connsiteX4" fmla="*/ 506413 w 1012826"/>
                <a:gd name="connsiteY4" fmla="*/ 1049339 h 1049339"/>
                <a:gd name="connsiteX5" fmla="*/ 0 w 1012826"/>
                <a:gd name="connsiteY5" fmla="*/ 793751 h 1049339"/>
                <a:gd name="connsiteX6" fmla="*/ 0 w 1012826"/>
                <a:gd name="connsiteY6" fmla="*/ 793750 h 1049339"/>
                <a:gd name="connsiteX7" fmla="*/ 0 w 1012826"/>
                <a:gd name="connsiteY7" fmla="*/ 793750 h 10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826" h="1049339">
                  <a:moveTo>
                    <a:pt x="0" y="0"/>
                  </a:moveTo>
                  <a:lnTo>
                    <a:pt x="1012825" y="0"/>
                  </a:lnTo>
                  <a:lnTo>
                    <a:pt x="1012825" y="793746"/>
                  </a:lnTo>
                  <a:lnTo>
                    <a:pt x="1012826" y="793751"/>
                  </a:lnTo>
                  <a:cubicBezTo>
                    <a:pt x="1012826" y="934908"/>
                    <a:pt x="786097" y="1049339"/>
                    <a:pt x="506413" y="1049339"/>
                  </a:cubicBezTo>
                  <a:cubicBezTo>
                    <a:pt x="226729" y="1049339"/>
                    <a:pt x="0" y="934908"/>
                    <a:pt x="0" y="793751"/>
                  </a:cubicBezTo>
                  <a:lnTo>
                    <a:pt x="0" y="793750"/>
                  </a:lnTo>
                  <a:lnTo>
                    <a:pt x="0" y="79375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" name="Oval 32"/>
            <p:cNvSpPr>
              <a:spLocks noChangeArrowheads="1"/>
            </p:cNvSpPr>
            <p:nvPr/>
          </p:nvSpPr>
          <p:spPr bwMode="auto">
            <a:xfrm>
              <a:off x="2465946" y="4377060"/>
              <a:ext cx="1290418" cy="65127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2"/>
            <p:cNvSpPr>
              <a:spLocks noChangeArrowheads="1"/>
            </p:cNvSpPr>
            <p:nvPr/>
          </p:nvSpPr>
          <p:spPr bwMode="auto">
            <a:xfrm>
              <a:off x="4079978" y="4039285"/>
              <a:ext cx="1290419" cy="2000352"/>
            </a:xfrm>
            <a:custGeom>
              <a:avLst/>
              <a:gdLst>
                <a:gd name="connsiteX0" fmla="*/ 0 w 1012826"/>
                <a:gd name="connsiteY0" fmla="*/ 0 h 1570039"/>
                <a:gd name="connsiteX1" fmla="*/ 1012825 w 1012826"/>
                <a:gd name="connsiteY1" fmla="*/ 0 h 1570039"/>
                <a:gd name="connsiteX2" fmla="*/ 1012825 w 1012826"/>
                <a:gd name="connsiteY2" fmla="*/ 1314446 h 1570039"/>
                <a:gd name="connsiteX3" fmla="*/ 1012826 w 1012826"/>
                <a:gd name="connsiteY3" fmla="*/ 1314451 h 1570039"/>
                <a:gd name="connsiteX4" fmla="*/ 506413 w 1012826"/>
                <a:gd name="connsiteY4" fmla="*/ 1570039 h 1570039"/>
                <a:gd name="connsiteX5" fmla="*/ 0 w 1012826"/>
                <a:gd name="connsiteY5" fmla="*/ 1314451 h 1570039"/>
                <a:gd name="connsiteX6" fmla="*/ 0 w 1012826"/>
                <a:gd name="connsiteY6" fmla="*/ 1314450 h 1570039"/>
                <a:gd name="connsiteX7" fmla="*/ 0 w 1012826"/>
                <a:gd name="connsiteY7" fmla="*/ 1314450 h 157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826" h="1570039">
                  <a:moveTo>
                    <a:pt x="0" y="0"/>
                  </a:moveTo>
                  <a:lnTo>
                    <a:pt x="1012825" y="0"/>
                  </a:lnTo>
                  <a:lnTo>
                    <a:pt x="1012825" y="1314446"/>
                  </a:lnTo>
                  <a:lnTo>
                    <a:pt x="1012826" y="1314451"/>
                  </a:lnTo>
                  <a:cubicBezTo>
                    <a:pt x="1012826" y="1455608"/>
                    <a:pt x="786097" y="1570039"/>
                    <a:pt x="506413" y="1570039"/>
                  </a:cubicBezTo>
                  <a:cubicBezTo>
                    <a:pt x="226729" y="1570039"/>
                    <a:pt x="0" y="1455608"/>
                    <a:pt x="0" y="1314451"/>
                  </a:cubicBezTo>
                  <a:lnTo>
                    <a:pt x="0" y="1314450"/>
                  </a:lnTo>
                  <a:lnTo>
                    <a:pt x="0" y="13144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Oval 35"/>
            <p:cNvSpPr>
              <a:spLocks noChangeArrowheads="1"/>
            </p:cNvSpPr>
            <p:nvPr/>
          </p:nvSpPr>
          <p:spPr bwMode="auto">
            <a:xfrm>
              <a:off x="4079979" y="3723760"/>
              <a:ext cx="1290418" cy="64116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14"/>
            <p:cNvSpPr>
              <a:spLocks noChangeArrowheads="1"/>
            </p:cNvSpPr>
            <p:nvPr/>
          </p:nvSpPr>
          <p:spPr bwMode="auto">
            <a:xfrm>
              <a:off x="5706148" y="2081410"/>
              <a:ext cx="1278282" cy="3958227"/>
            </a:xfrm>
            <a:custGeom>
              <a:avLst/>
              <a:gdLst>
                <a:gd name="connsiteX0" fmla="*/ 0 w 1003300"/>
                <a:gd name="connsiteY0" fmla="*/ 0 h 3106739"/>
                <a:gd name="connsiteX1" fmla="*/ 1003300 w 1003300"/>
                <a:gd name="connsiteY1" fmla="*/ 0 h 3106739"/>
                <a:gd name="connsiteX2" fmla="*/ 1003300 w 1003300"/>
                <a:gd name="connsiteY2" fmla="*/ 2851150 h 3106739"/>
                <a:gd name="connsiteX3" fmla="*/ 1003300 w 1003300"/>
                <a:gd name="connsiteY3" fmla="*/ 2851150 h 3106739"/>
                <a:gd name="connsiteX4" fmla="*/ 1003300 w 1003300"/>
                <a:gd name="connsiteY4" fmla="*/ 2851151 h 3106739"/>
                <a:gd name="connsiteX5" fmla="*/ 501650 w 1003300"/>
                <a:gd name="connsiteY5" fmla="*/ 3106739 h 3106739"/>
                <a:gd name="connsiteX6" fmla="*/ 0 w 1003300"/>
                <a:gd name="connsiteY6" fmla="*/ 2851151 h 3106739"/>
                <a:gd name="connsiteX7" fmla="*/ 0 w 1003300"/>
                <a:gd name="connsiteY7" fmla="*/ 2851150 h 3106739"/>
                <a:gd name="connsiteX8" fmla="*/ 0 w 1003300"/>
                <a:gd name="connsiteY8" fmla="*/ 2851150 h 310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3300" h="3106739">
                  <a:moveTo>
                    <a:pt x="0" y="0"/>
                  </a:moveTo>
                  <a:lnTo>
                    <a:pt x="1003300" y="0"/>
                  </a:lnTo>
                  <a:lnTo>
                    <a:pt x="1003300" y="2851150"/>
                  </a:lnTo>
                  <a:lnTo>
                    <a:pt x="1003300" y="2851150"/>
                  </a:lnTo>
                  <a:lnTo>
                    <a:pt x="1003300" y="2851151"/>
                  </a:lnTo>
                  <a:cubicBezTo>
                    <a:pt x="1003300" y="2992308"/>
                    <a:pt x="778704" y="3106739"/>
                    <a:pt x="501650" y="3106739"/>
                  </a:cubicBezTo>
                  <a:cubicBezTo>
                    <a:pt x="224596" y="3106739"/>
                    <a:pt x="0" y="2992308"/>
                    <a:pt x="0" y="2851151"/>
                  </a:cubicBezTo>
                  <a:lnTo>
                    <a:pt x="0" y="2851150"/>
                  </a:lnTo>
                  <a:lnTo>
                    <a:pt x="0" y="285115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2" name="Oval 38"/>
            <p:cNvSpPr>
              <a:spLocks noChangeArrowheads="1"/>
            </p:cNvSpPr>
            <p:nvPr/>
          </p:nvSpPr>
          <p:spPr bwMode="auto">
            <a:xfrm>
              <a:off x="5706148" y="1755772"/>
              <a:ext cx="1278282" cy="65329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16"/>
            <p:cNvSpPr>
              <a:spLocks noChangeArrowheads="1"/>
            </p:cNvSpPr>
            <p:nvPr/>
          </p:nvSpPr>
          <p:spPr bwMode="auto">
            <a:xfrm>
              <a:off x="7320181" y="3388007"/>
              <a:ext cx="1290419" cy="2651629"/>
            </a:xfrm>
            <a:custGeom>
              <a:avLst/>
              <a:gdLst>
                <a:gd name="connsiteX0" fmla="*/ 0 w 1012826"/>
                <a:gd name="connsiteY0" fmla="*/ 0 h 2081214"/>
                <a:gd name="connsiteX1" fmla="*/ 1012825 w 1012826"/>
                <a:gd name="connsiteY1" fmla="*/ 0 h 2081214"/>
                <a:gd name="connsiteX2" fmla="*/ 1012825 w 1012826"/>
                <a:gd name="connsiteY2" fmla="*/ 1825621 h 2081214"/>
                <a:gd name="connsiteX3" fmla="*/ 1012826 w 1012826"/>
                <a:gd name="connsiteY3" fmla="*/ 1825626 h 2081214"/>
                <a:gd name="connsiteX4" fmla="*/ 506413 w 1012826"/>
                <a:gd name="connsiteY4" fmla="*/ 2081214 h 2081214"/>
                <a:gd name="connsiteX5" fmla="*/ 0 w 1012826"/>
                <a:gd name="connsiteY5" fmla="*/ 1825626 h 2081214"/>
                <a:gd name="connsiteX6" fmla="*/ 0 w 1012826"/>
                <a:gd name="connsiteY6" fmla="*/ 1825625 h 2081214"/>
                <a:gd name="connsiteX7" fmla="*/ 0 w 1012826"/>
                <a:gd name="connsiteY7" fmla="*/ 1825625 h 208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826" h="2081214">
                  <a:moveTo>
                    <a:pt x="0" y="0"/>
                  </a:moveTo>
                  <a:lnTo>
                    <a:pt x="1012825" y="0"/>
                  </a:lnTo>
                  <a:lnTo>
                    <a:pt x="1012825" y="1825621"/>
                  </a:lnTo>
                  <a:lnTo>
                    <a:pt x="1012826" y="1825626"/>
                  </a:lnTo>
                  <a:cubicBezTo>
                    <a:pt x="1012826" y="1966783"/>
                    <a:pt x="786097" y="2081214"/>
                    <a:pt x="506413" y="2081214"/>
                  </a:cubicBezTo>
                  <a:cubicBezTo>
                    <a:pt x="226729" y="2081214"/>
                    <a:pt x="0" y="1966783"/>
                    <a:pt x="0" y="1825626"/>
                  </a:cubicBezTo>
                  <a:lnTo>
                    <a:pt x="0" y="1825625"/>
                  </a:lnTo>
                  <a:lnTo>
                    <a:pt x="0" y="18256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4" name="Oval 41"/>
            <p:cNvSpPr>
              <a:spLocks noChangeArrowheads="1"/>
            </p:cNvSpPr>
            <p:nvPr/>
          </p:nvSpPr>
          <p:spPr bwMode="auto">
            <a:xfrm>
              <a:off x="7320182" y="3060347"/>
              <a:ext cx="1290418" cy="65329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5" name="Rectangle 44"/>
            <p:cNvSpPr/>
            <p:nvPr>
              <p:custDataLst>
                <p:tags r:id="rId1"/>
              </p:custDataLst>
            </p:nvPr>
          </p:nvSpPr>
          <p:spPr>
            <a:xfrm>
              <a:off x="873834" y="1807166"/>
              <a:ext cx="1244554" cy="552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1"/>
                  </a:solidFill>
                  <a:latin typeface="+mj-lt"/>
                </a:rPr>
                <a:t>47%</a:t>
              </a:r>
              <a:endParaRPr lang="en-US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6" name="Rectangle 45"/>
            <p:cNvSpPr/>
            <p:nvPr>
              <p:custDataLst>
                <p:tags r:id="rId2"/>
              </p:custDataLst>
            </p:nvPr>
          </p:nvSpPr>
          <p:spPr>
            <a:xfrm>
              <a:off x="2488878" y="3769579"/>
              <a:ext cx="124455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/>
                  </a:solidFill>
                  <a:latin typeface="+mj-lt"/>
                </a:rPr>
                <a:t>16%</a:t>
              </a:r>
              <a:endParaRPr lang="en-US" sz="32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7" name="Rectangle 46"/>
            <p:cNvSpPr/>
            <p:nvPr>
              <p:custDataLst>
                <p:tags r:id="rId3"/>
              </p:custDataLst>
            </p:nvPr>
          </p:nvSpPr>
          <p:spPr>
            <a:xfrm>
              <a:off x="4108979" y="3121854"/>
              <a:ext cx="1244554" cy="552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1"/>
                  </a:solidFill>
                  <a:latin typeface="+mj-lt"/>
                </a:rPr>
                <a:t>24%</a:t>
              </a:r>
              <a:endParaRPr lang="en-US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8" name="Rectangle 47"/>
            <p:cNvSpPr/>
            <p:nvPr>
              <p:custDataLst>
                <p:tags r:id="rId4"/>
              </p:custDataLst>
            </p:nvPr>
          </p:nvSpPr>
          <p:spPr>
            <a:xfrm>
              <a:off x="5716947" y="1153867"/>
              <a:ext cx="124455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/>
                  </a:solidFill>
                  <a:latin typeface="+mj-lt"/>
                </a:rPr>
                <a:t>63%</a:t>
              </a:r>
              <a:endParaRPr lang="en-US" sz="32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9" name="Rectangle 48"/>
            <p:cNvSpPr/>
            <p:nvPr>
              <p:custDataLst>
                <p:tags r:id="rId5"/>
              </p:custDataLst>
            </p:nvPr>
          </p:nvSpPr>
          <p:spPr>
            <a:xfrm>
              <a:off x="7343115" y="2460199"/>
              <a:ext cx="1244554" cy="552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1"/>
                  </a:solidFill>
                  <a:latin typeface="+mj-lt"/>
                </a:rPr>
                <a:t>34%</a:t>
              </a:r>
              <a:endParaRPr lang="en-US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76" name="Straight Connector 75"/>
            <p:cNvCxnSpPr>
              <a:stCxn id="35" idx="4"/>
            </p:cNvCxnSpPr>
            <p:nvPr/>
          </p:nvCxnSpPr>
          <p:spPr>
            <a:xfrm>
              <a:off x="1496110" y="3060349"/>
              <a:ext cx="1614033" cy="1979113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stCxn id="37" idx="4"/>
              <a:endCxn id="40" idx="4"/>
            </p:cNvCxnSpPr>
            <p:nvPr/>
          </p:nvCxnSpPr>
          <p:spPr>
            <a:xfrm flipV="1">
              <a:off x="3111156" y="4364924"/>
              <a:ext cx="1614034" cy="663414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stCxn id="40" idx="4"/>
              <a:endCxn id="42" idx="4"/>
            </p:cNvCxnSpPr>
            <p:nvPr/>
          </p:nvCxnSpPr>
          <p:spPr>
            <a:xfrm flipV="1">
              <a:off x="4725190" y="2409071"/>
              <a:ext cx="1620100" cy="1955852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42" idx="4"/>
              <a:endCxn id="44" idx="4"/>
            </p:cNvCxnSpPr>
            <p:nvPr/>
          </p:nvCxnSpPr>
          <p:spPr>
            <a:xfrm>
              <a:off x="6345290" y="2409071"/>
              <a:ext cx="1620102" cy="1304575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1005613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618633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4234675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5848722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7474891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O que é o Ghost?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" cstate="screen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4434"/>
          <a:stretch>
            <a:fillRect/>
          </a:stretch>
        </p:blipFill>
        <p:spPr>
          <a:xfrm>
            <a:off x="4337430" y="3750239"/>
            <a:ext cx="3517140" cy="224677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4179"/>
          <a:stretch>
            <a:fillRect/>
          </a:stretch>
        </p:blipFill>
        <p:spPr>
          <a:xfrm>
            <a:off x="624115" y="3750239"/>
            <a:ext cx="3517140" cy="2246769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4336795" y="3749605"/>
            <a:ext cx="3517141" cy="2246769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grayscl/>
            <a:lum bright="30000" contrast="-36000"/>
          </a:blip>
          <a:srcRect l="-39038" r="-48946"/>
          <a:stretch>
            <a:fillRect/>
          </a:stretch>
        </p:blipFill>
        <p:spPr>
          <a:xfrm>
            <a:off x="6669405" y="3749675"/>
            <a:ext cx="6626225" cy="224599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24114" y="3750240"/>
            <a:ext cx="3517141" cy="2246769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050745" y="3748970"/>
            <a:ext cx="3517141" cy="2246769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Freeform 3447"/>
          <p:cNvSpPr>
            <a:spLocks noEditPoints="1"/>
          </p:cNvSpPr>
          <p:nvPr/>
        </p:nvSpPr>
        <p:spPr bwMode="auto">
          <a:xfrm>
            <a:off x="5558971" y="1167269"/>
            <a:ext cx="1074058" cy="1074058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4810035" y="2386684"/>
            <a:ext cx="2571930" cy="3073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2000" dirty="0">
                <a:solidFill>
                  <a:schemeClr val="accent1"/>
                </a:solidFill>
                <a:latin typeface="+mj-lt"/>
              </a:rPr>
              <a:t>O teu nome</a:t>
            </a:r>
            <a:endParaRPr lang="en-US" alt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83771" y="2839819"/>
            <a:ext cx="10624458" cy="6457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O Ghost trata-se de uma plataforma de</a:t>
            </a:r>
            <a:r>
              <a:rPr 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blogging</a:t>
            </a:r>
            <a:r>
              <a:rPr 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moderna. Oferece as funcionalidades mais relevantes neste tipo de serviço, como a possibilidade de criar um </a:t>
            </a:r>
            <a:r>
              <a:rPr lang="en-US" alt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blog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colaborativo, planeamento de conteúdos, e um editor de publicações rico que permite não só a formatação de texto, mas também a inserção de blocos de conteúdo dinâmico como imagens, vídeos e áudio.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2192517" y="4708813"/>
            <a:ext cx="380334" cy="329623"/>
            <a:chOff x="11028363" y="5368925"/>
            <a:chExt cx="285750" cy="247650"/>
          </a:xfrm>
          <a:solidFill>
            <a:schemeClr val="bg1"/>
          </a:solidFill>
        </p:grpSpPr>
        <p:sp>
          <p:nvSpPr>
            <p:cNvPr id="54" name="Freeform 3577"/>
            <p:cNvSpPr/>
            <p:nvPr/>
          </p:nvSpPr>
          <p:spPr bwMode="auto">
            <a:xfrm>
              <a:off x="11028363" y="5454650"/>
              <a:ext cx="66675" cy="114300"/>
            </a:xfrm>
            <a:custGeom>
              <a:avLst/>
              <a:gdLst>
                <a:gd name="T0" fmla="*/ 0 w 169"/>
                <a:gd name="T1" fmla="*/ 98 h 288"/>
                <a:gd name="T2" fmla="*/ 0 w 169"/>
                <a:gd name="T3" fmla="*/ 114 h 288"/>
                <a:gd name="T4" fmla="*/ 2 w 169"/>
                <a:gd name="T5" fmla="*/ 131 h 288"/>
                <a:gd name="T6" fmla="*/ 3 w 169"/>
                <a:gd name="T7" fmla="*/ 139 h 288"/>
                <a:gd name="T8" fmla="*/ 5 w 169"/>
                <a:gd name="T9" fmla="*/ 146 h 288"/>
                <a:gd name="T10" fmla="*/ 9 w 169"/>
                <a:gd name="T11" fmla="*/ 153 h 288"/>
                <a:gd name="T12" fmla="*/ 13 w 169"/>
                <a:gd name="T13" fmla="*/ 159 h 288"/>
                <a:gd name="T14" fmla="*/ 18 w 169"/>
                <a:gd name="T15" fmla="*/ 163 h 288"/>
                <a:gd name="T16" fmla="*/ 23 w 169"/>
                <a:gd name="T17" fmla="*/ 166 h 288"/>
                <a:gd name="T18" fmla="*/ 23 w 169"/>
                <a:gd name="T19" fmla="*/ 288 h 288"/>
                <a:gd name="T20" fmla="*/ 144 w 169"/>
                <a:gd name="T21" fmla="*/ 288 h 288"/>
                <a:gd name="T22" fmla="*/ 144 w 169"/>
                <a:gd name="T23" fmla="*/ 166 h 288"/>
                <a:gd name="T24" fmla="*/ 151 w 169"/>
                <a:gd name="T25" fmla="*/ 162 h 288"/>
                <a:gd name="T26" fmla="*/ 156 w 169"/>
                <a:gd name="T27" fmla="*/ 157 h 288"/>
                <a:gd name="T28" fmla="*/ 161 w 169"/>
                <a:gd name="T29" fmla="*/ 150 h 288"/>
                <a:gd name="T30" fmla="*/ 165 w 169"/>
                <a:gd name="T31" fmla="*/ 140 h 288"/>
                <a:gd name="T32" fmla="*/ 166 w 169"/>
                <a:gd name="T33" fmla="*/ 130 h 288"/>
                <a:gd name="T34" fmla="*/ 167 w 169"/>
                <a:gd name="T35" fmla="*/ 119 h 288"/>
                <a:gd name="T36" fmla="*/ 169 w 169"/>
                <a:gd name="T37" fmla="*/ 109 h 288"/>
                <a:gd name="T38" fmla="*/ 169 w 169"/>
                <a:gd name="T39" fmla="*/ 99 h 288"/>
                <a:gd name="T40" fmla="*/ 169 w 169"/>
                <a:gd name="T41" fmla="*/ 0 h 288"/>
                <a:gd name="T42" fmla="*/ 0 w 169"/>
                <a:gd name="T43" fmla="*/ 0 h 288"/>
                <a:gd name="T44" fmla="*/ 0 w 169"/>
                <a:gd name="T45" fmla="*/ 9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288">
                  <a:moveTo>
                    <a:pt x="0" y="98"/>
                  </a:moveTo>
                  <a:lnTo>
                    <a:pt x="0" y="114"/>
                  </a:lnTo>
                  <a:lnTo>
                    <a:pt x="2" y="131"/>
                  </a:lnTo>
                  <a:lnTo>
                    <a:pt x="3" y="139"/>
                  </a:lnTo>
                  <a:lnTo>
                    <a:pt x="5" y="146"/>
                  </a:lnTo>
                  <a:lnTo>
                    <a:pt x="9" y="153"/>
                  </a:lnTo>
                  <a:lnTo>
                    <a:pt x="13" y="159"/>
                  </a:lnTo>
                  <a:lnTo>
                    <a:pt x="18" y="163"/>
                  </a:lnTo>
                  <a:lnTo>
                    <a:pt x="23" y="166"/>
                  </a:lnTo>
                  <a:lnTo>
                    <a:pt x="23" y="288"/>
                  </a:lnTo>
                  <a:lnTo>
                    <a:pt x="144" y="288"/>
                  </a:lnTo>
                  <a:lnTo>
                    <a:pt x="144" y="166"/>
                  </a:lnTo>
                  <a:lnTo>
                    <a:pt x="151" y="162"/>
                  </a:lnTo>
                  <a:lnTo>
                    <a:pt x="156" y="157"/>
                  </a:lnTo>
                  <a:lnTo>
                    <a:pt x="161" y="150"/>
                  </a:lnTo>
                  <a:lnTo>
                    <a:pt x="165" y="140"/>
                  </a:lnTo>
                  <a:lnTo>
                    <a:pt x="166" y="130"/>
                  </a:lnTo>
                  <a:lnTo>
                    <a:pt x="167" y="119"/>
                  </a:lnTo>
                  <a:lnTo>
                    <a:pt x="169" y="109"/>
                  </a:lnTo>
                  <a:lnTo>
                    <a:pt x="169" y="99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5" name="Freeform 3578"/>
            <p:cNvSpPr/>
            <p:nvPr/>
          </p:nvSpPr>
          <p:spPr bwMode="auto">
            <a:xfrm>
              <a:off x="11247438" y="5454650"/>
              <a:ext cx="66675" cy="114300"/>
            </a:xfrm>
            <a:custGeom>
              <a:avLst/>
              <a:gdLst>
                <a:gd name="T0" fmla="*/ 0 w 168"/>
                <a:gd name="T1" fmla="*/ 0 h 288"/>
                <a:gd name="T2" fmla="*/ 0 w 168"/>
                <a:gd name="T3" fmla="*/ 95 h 288"/>
                <a:gd name="T4" fmla="*/ 0 w 168"/>
                <a:gd name="T5" fmla="*/ 105 h 288"/>
                <a:gd name="T6" fmla="*/ 1 w 168"/>
                <a:gd name="T7" fmla="*/ 116 h 288"/>
                <a:gd name="T8" fmla="*/ 3 w 168"/>
                <a:gd name="T9" fmla="*/ 123 h 288"/>
                <a:gd name="T10" fmla="*/ 6 w 168"/>
                <a:gd name="T11" fmla="*/ 131 h 288"/>
                <a:gd name="T12" fmla="*/ 10 w 168"/>
                <a:gd name="T13" fmla="*/ 139 h 288"/>
                <a:gd name="T14" fmla="*/ 14 w 168"/>
                <a:gd name="T15" fmla="*/ 144 h 288"/>
                <a:gd name="T16" fmla="*/ 19 w 168"/>
                <a:gd name="T17" fmla="*/ 149 h 288"/>
                <a:gd name="T18" fmla="*/ 24 w 168"/>
                <a:gd name="T19" fmla="*/ 153 h 288"/>
                <a:gd name="T20" fmla="*/ 24 w 168"/>
                <a:gd name="T21" fmla="*/ 288 h 288"/>
                <a:gd name="T22" fmla="*/ 143 w 168"/>
                <a:gd name="T23" fmla="*/ 288 h 288"/>
                <a:gd name="T24" fmla="*/ 143 w 168"/>
                <a:gd name="T25" fmla="*/ 153 h 288"/>
                <a:gd name="T26" fmla="*/ 150 w 168"/>
                <a:gd name="T27" fmla="*/ 149 h 288"/>
                <a:gd name="T28" fmla="*/ 154 w 168"/>
                <a:gd name="T29" fmla="*/ 144 h 288"/>
                <a:gd name="T30" fmla="*/ 158 w 168"/>
                <a:gd name="T31" fmla="*/ 137 h 288"/>
                <a:gd name="T32" fmla="*/ 161 w 168"/>
                <a:gd name="T33" fmla="*/ 130 h 288"/>
                <a:gd name="T34" fmla="*/ 164 w 168"/>
                <a:gd name="T35" fmla="*/ 122 h 288"/>
                <a:gd name="T36" fmla="*/ 167 w 168"/>
                <a:gd name="T37" fmla="*/ 113 h 288"/>
                <a:gd name="T38" fmla="*/ 168 w 168"/>
                <a:gd name="T39" fmla="*/ 104 h 288"/>
                <a:gd name="T40" fmla="*/ 168 w 168"/>
                <a:gd name="T41" fmla="*/ 95 h 288"/>
                <a:gd name="T42" fmla="*/ 168 w 168"/>
                <a:gd name="T43" fmla="*/ 0 h 288"/>
                <a:gd name="T44" fmla="*/ 0 w 168"/>
                <a:gd name="T4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88">
                  <a:moveTo>
                    <a:pt x="0" y="0"/>
                  </a:moveTo>
                  <a:lnTo>
                    <a:pt x="0" y="95"/>
                  </a:lnTo>
                  <a:lnTo>
                    <a:pt x="0" y="105"/>
                  </a:lnTo>
                  <a:lnTo>
                    <a:pt x="1" y="116"/>
                  </a:lnTo>
                  <a:lnTo>
                    <a:pt x="3" y="123"/>
                  </a:lnTo>
                  <a:lnTo>
                    <a:pt x="6" y="131"/>
                  </a:lnTo>
                  <a:lnTo>
                    <a:pt x="10" y="139"/>
                  </a:lnTo>
                  <a:lnTo>
                    <a:pt x="14" y="144"/>
                  </a:lnTo>
                  <a:lnTo>
                    <a:pt x="19" y="149"/>
                  </a:lnTo>
                  <a:lnTo>
                    <a:pt x="24" y="153"/>
                  </a:lnTo>
                  <a:lnTo>
                    <a:pt x="24" y="288"/>
                  </a:lnTo>
                  <a:lnTo>
                    <a:pt x="143" y="288"/>
                  </a:lnTo>
                  <a:lnTo>
                    <a:pt x="143" y="153"/>
                  </a:lnTo>
                  <a:lnTo>
                    <a:pt x="150" y="149"/>
                  </a:lnTo>
                  <a:lnTo>
                    <a:pt x="154" y="144"/>
                  </a:lnTo>
                  <a:lnTo>
                    <a:pt x="158" y="137"/>
                  </a:lnTo>
                  <a:lnTo>
                    <a:pt x="161" y="130"/>
                  </a:lnTo>
                  <a:lnTo>
                    <a:pt x="164" y="122"/>
                  </a:lnTo>
                  <a:lnTo>
                    <a:pt x="167" y="113"/>
                  </a:lnTo>
                  <a:lnTo>
                    <a:pt x="168" y="104"/>
                  </a:lnTo>
                  <a:lnTo>
                    <a:pt x="168" y="95"/>
                  </a:lnTo>
                  <a:lnTo>
                    <a:pt x="1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6" name="Freeform 3579"/>
            <p:cNvSpPr/>
            <p:nvPr/>
          </p:nvSpPr>
          <p:spPr bwMode="auto">
            <a:xfrm>
              <a:off x="11123613" y="5454650"/>
              <a:ext cx="95250" cy="161925"/>
            </a:xfrm>
            <a:custGeom>
              <a:avLst/>
              <a:gdLst>
                <a:gd name="T0" fmla="*/ 0 w 241"/>
                <a:gd name="T1" fmla="*/ 168 h 408"/>
                <a:gd name="T2" fmla="*/ 0 w 241"/>
                <a:gd name="T3" fmla="*/ 182 h 408"/>
                <a:gd name="T4" fmla="*/ 3 w 241"/>
                <a:gd name="T5" fmla="*/ 195 h 408"/>
                <a:gd name="T6" fmla="*/ 7 w 241"/>
                <a:gd name="T7" fmla="*/ 206 h 408"/>
                <a:gd name="T8" fmla="*/ 13 w 241"/>
                <a:gd name="T9" fmla="*/ 216 h 408"/>
                <a:gd name="T10" fmla="*/ 20 w 241"/>
                <a:gd name="T11" fmla="*/ 225 h 408"/>
                <a:gd name="T12" fmla="*/ 27 w 241"/>
                <a:gd name="T13" fmla="*/ 231 h 408"/>
                <a:gd name="T14" fmla="*/ 38 w 241"/>
                <a:gd name="T15" fmla="*/ 236 h 408"/>
                <a:gd name="T16" fmla="*/ 48 w 241"/>
                <a:gd name="T17" fmla="*/ 239 h 408"/>
                <a:gd name="T18" fmla="*/ 48 w 241"/>
                <a:gd name="T19" fmla="*/ 408 h 408"/>
                <a:gd name="T20" fmla="*/ 192 w 241"/>
                <a:gd name="T21" fmla="*/ 408 h 408"/>
                <a:gd name="T22" fmla="*/ 192 w 241"/>
                <a:gd name="T23" fmla="*/ 239 h 408"/>
                <a:gd name="T24" fmla="*/ 203 w 241"/>
                <a:gd name="T25" fmla="*/ 236 h 408"/>
                <a:gd name="T26" fmla="*/ 212 w 241"/>
                <a:gd name="T27" fmla="*/ 231 h 408"/>
                <a:gd name="T28" fmla="*/ 221 w 241"/>
                <a:gd name="T29" fmla="*/ 225 h 408"/>
                <a:gd name="T30" fmla="*/ 228 w 241"/>
                <a:gd name="T31" fmla="*/ 216 h 408"/>
                <a:gd name="T32" fmla="*/ 233 w 241"/>
                <a:gd name="T33" fmla="*/ 206 h 408"/>
                <a:gd name="T34" fmla="*/ 237 w 241"/>
                <a:gd name="T35" fmla="*/ 195 h 408"/>
                <a:gd name="T36" fmla="*/ 239 w 241"/>
                <a:gd name="T37" fmla="*/ 182 h 408"/>
                <a:gd name="T38" fmla="*/ 241 w 241"/>
                <a:gd name="T39" fmla="*/ 168 h 408"/>
                <a:gd name="T40" fmla="*/ 241 w 241"/>
                <a:gd name="T41" fmla="*/ 0 h 408"/>
                <a:gd name="T42" fmla="*/ 0 w 241"/>
                <a:gd name="T43" fmla="*/ 0 h 408"/>
                <a:gd name="T44" fmla="*/ 0 w 241"/>
                <a:gd name="T45" fmla="*/ 16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1" h="408">
                  <a:moveTo>
                    <a:pt x="0" y="168"/>
                  </a:moveTo>
                  <a:lnTo>
                    <a:pt x="0" y="182"/>
                  </a:lnTo>
                  <a:lnTo>
                    <a:pt x="3" y="195"/>
                  </a:lnTo>
                  <a:lnTo>
                    <a:pt x="7" y="206"/>
                  </a:lnTo>
                  <a:lnTo>
                    <a:pt x="13" y="216"/>
                  </a:lnTo>
                  <a:lnTo>
                    <a:pt x="20" y="225"/>
                  </a:lnTo>
                  <a:lnTo>
                    <a:pt x="27" y="231"/>
                  </a:lnTo>
                  <a:lnTo>
                    <a:pt x="38" y="236"/>
                  </a:lnTo>
                  <a:lnTo>
                    <a:pt x="48" y="239"/>
                  </a:lnTo>
                  <a:lnTo>
                    <a:pt x="48" y="408"/>
                  </a:lnTo>
                  <a:lnTo>
                    <a:pt x="192" y="408"/>
                  </a:lnTo>
                  <a:lnTo>
                    <a:pt x="192" y="239"/>
                  </a:lnTo>
                  <a:lnTo>
                    <a:pt x="203" y="236"/>
                  </a:lnTo>
                  <a:lnTo>
                    <a:pt x="212" y="231"/>
                  </a:lnTo>
                  <a:lnTo>
                    <a:pt x="221" y="225"/>
                  </a:lnTo>
                  <a:lnTo>
                    <a:pt x="228" y="216"/>
                  </a:lnTo>
                  <a:lnTo>
                    <a:pt x="233" y="206"/>
                  </a:lnTo>
                  <a:lnTo>
                    <a:pt x="237" y="195"/>
                  </a:lnTo>
                  <a:lnTo>
                    <a:pt x="239" y="182"/>
                  </a:lnTo>
                  <a:lnTo>
                    <a:pt x="241" y="168"/>
                  </a:lnTo>
                  <a:lnTo>
                    <a:pt x="241" y="0"/>
                  </a:lnTo>
                  <a:lnTo>
                    <a:pt x="0" y="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7" name="Freeform 3581"/>
            <p:cNvSpPr/>
            <p:nvPr/>
          </p:nvSpPr>
          <p:spPr bwMode="auto">
            <a:xfrm>
              <a:off x="11256963" y="5397500"/>
              <a:ext cx="47625" cy="47625"/>
            </a:xfrm>
            <a:custGeom>
              <a:avLst/>
              <a:gdLst>
                <a:gd name="T0" fmla="*/ 60 w 119"/>
                <a:gd name="T1" fmla="*/ 121 h 121"/>
                <a:gd name="T2" fmla="*/ 72 w 119"/>
                <a:gd name="T3" fmla="*/ 119 h 121"/>
                <a:gd name="T4" fmla="*/ 83 w 119"/>
                <a:gd name="T5" fmla="*/ 115 h 121"/>
                <a:gd name="T6" fmla="*/ 94 w 119"/>
                <a:gd name="T7" fmla="*/ 110 h 121"/>
                <a:gd name="T8" fmla="*/ 103 w 119"/>
                <a:gd name="T9" fmla="*/ 103 h 121"/>
                <a:gd name="T10" fmla="*/ 109 w 119"/>
                <a:gd name="T11" fmla="*/ 94 h 121"/>
                <a:gd name="T12" fmla="*/ 116 w 119"/>
                <a:gd name="T13" fmla="*/ 83 h 121"/>
                <a:gd name="T14" fmla="*/ 118 w 119"/>
                <a:gd name="T15" fmla="*/ 72 h 121"/>
                <a:gd name="T16" fmla="*/ 119 w 119"/>
                <a:gd name="T17" fmla="*/ 60 h 121"/>
                <a:gd name="T18" fmla="*/ 118 w 119"/>
                <a:gd name="T19" fmla="*/ 49 h 121"/>
                <a:gd name="T20" fmla="*/ 116 w 119"/>
                <a:gd name="T21" fmla="*/ 37 h 121"/>
                <a:gd name="T22" fmla="*/ 109 w 119"/>
                <a:gd name="T23" fmla="*/ 27 h 121"/>
                <a:gd name="T24" fmla="*/ 103 w 119"/>
                <a:gd name="T25" fmla="*/ 18 h 121"/>
                <a:gd name="T26" fmla="*/ 94 w 119"/>
                <a:gd name="T27" fmla="*/ 10 h 121"/>
                <a:gd name="T28" fmla="*/ 83 w 119"/>
                <a:gd name="T29" fmla="*/ 5 h 121"/>
                <a:gd name="T30" fmla="*/ 72 w 119"/>
                <a:gd name="T31" fmla="*/ 1 h 121"/>
                <a:gd name="T32" fmla="*/ 60 w 119"/>
                <a:gd name="T33" fmla="*/ 0 h 121"/>
                <a:gd name="T34" fmla="*/ 47 w 119"/>
                <a:gd name="T35" fmla="*/ 1 h 121"/>
                <a:gd name="T36" fmla="*/ 36 w 119"/>
                <a:gd name="T37" fmla="*/ 5 h 121"/>
                <a:gd name="T38" fmla="*/ 26 w 119"/>
                <a:gd name="T39" fmla="*/ 10 h 121"/>
                <a:gd name="T40" fmla="*/ 17 w 119"/>
                <a:gd name="T41" fmla="*/ 18 h 121"/>
                <a:gd name="T42" fmla="*/ 10 w 119"/>
                <a:gd name="T43" fmla="*/ 27 h 121"/>
                <a:gd name="T44" fmla="*/ 4 w 119"/>
                <a:gd name="T45" fmla="*/ 37 h 121"/>
                <a:gd name="T46" fmla="*/ 1 w 119"/>
                <a:gd name="T47" fmla="*/ 49 h 121"/>
                <a:gd name="T48" fmla="*/ 0 w 119"/>
                <a:gd name="T49" fmla="*/ 60 h 121"/>
                <a:gd name="T50" fmla="*/ 1 w 119"/>
                <a:gd name="T51" fmla="*/ 72 h 121"/>
                <a:gd name="T52" fmla="*/ 4 w 119"/>
                <a:gd name="T53" fmla="*/ 83 h 121"/>
                <a:gd name="T54" fmla="*/ 10 w 119"/>
                <a:gd name="T55" fmla="*/ 94 h 121"/>
                <a:gd name="T56" fmla="*/ 17 w 119"/>
                <a:gd name="T57" fmla="*/ 103 h 121"/>
                <a:gd name="T58" fmla="*/ 26 w 119"/>
                <a:gd name="T59" fmla="*/ 110 h 121"/>
                <a:gd name="T60" fmla="*/ 36 w 119"/>
                <a:gd name="T61" fmla="*/ 115 h 121"/>
                <a:gd name="T62" fmla="*/ 47 w 119"/>
                <a:gd name="T63" fmla="*/ 119 h 121"/>
                <a:gd name="T64" fmla="*/ 60 w 119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121">
                  <a:moveTo>
                    <a:pt x="60" y="121"/>
                  </a:moveTo>
                  <a:lnTo>
                    <a:pt x="72" y="119"/>
                  </a:lnTo>
                  <a:lnTo>
                    <a:pt x="83" y="115"/>
                  </a:lnTo>
                  <a:lnTo>
                    <a:pt x="94" y="110"/>
                  </a:lnTo>
                  <a:lnTo>
                    <a:pt x="103" y="103"/>
                  </a:lnTo>
                  <a:lnTo>
                    <a:pt x="109" y="94"/>
                  </a:lnTo>
                  <a:lnTo>
                    <a:pt x="116" y="83"/>
                  </a:lnTo>
                  <a:lnTo>
                    <a:pt x="118" y="72"/>
                  </a:lnTo>
                  <a:lnTo>
                    <a:pt x="119" y="60"/>
                  </a:lnTo>
                  <a:lnTo>
                    <a:pt x="118" y="49"/>
                  </a:lnTo>
                  <a:lnTo>
                    <a:pt x="116" y="37"/>
                  </a:lnTo>
                  <a:lnTo>
                    <a:pt x="109" y="27"/>
                  </a:lnTo>
                  <a:lnTo>
                    <a:pt x="103" y="18"/>
                  </a:lnTo>
                  <a:lnTo>
                    <a:pt x="94" y="10"/>
                  </a:lnTo>
                  <a:lnTo>
                    <a:pt x="83" y="5"/>
                  </a:lnTo>
                  <a:lnTo>
                    <a:pt x="72" y="1"/>
                  </a:lnTo>
                  <a:lnTo>
                    <a:pt x="60" y="0"/>
                  </a:lnTo>
                  <a:lnTo>
                    <a:pt x="47" y="1"/>
                  </a:lnTo>
                  <a:lnTo>
                    <a:pt x="36" y="5"/>
                  </a:lnTo>
                  <a:lnTo>
                    <a:pt x="26" y="10"/>
                  </a:lnTo>
                  <a:lnTo>
                    <a:pt x="17" y="18"/>
                  </a:lnTo>
                  <a:lnTo>
                    <a:pt x="10" y="27"/>
                  </a:lnTo>
                  <a:lnTo>
                    <a:pt x="4" y="37"/>
                  </a:lnTo>
                  <a:lnTo>
                    <a:pt x="1" y="49"/>
                  </a:lnTo>
                  <a:lnTo>
                    <a:pt x="0" y="60"/>
                  </a:lnTo>
                  <a:lnTo>
                    <a:pt x="1" y="72"/>
                  </a:lnTo>
                  <a:lnTo>
                    <a:pt x="4" y="83"/>
                  </a:lnTo>
                  <a:lnTo>
                    <a:pt x="10" y="94"/>
                  </a:lnTo>
                  <a:lnTo>
                    <a:pt x="17" y="103"/>
                  </a:lnTo>
                  <a:lnTo>
                    <a:pt x="26" y="110"/>
                  </a:lnTo>
                  <a:lnTo>
                    <a:pt x="36" y="115"/>
                  </a:lnTo>
                  <a:lnTo>
                    <a:pt x="47" y="119"/>
                  </a:lnTo>
                  <a:lnTo>
                    <a:pt x="60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8" name="Freeform 3582"/>
            <p:cNvSpPr/>
            <p:nvPr/>
          </p:nvSpPr>
          <p:spPr bwMode="auto">
            <a:xfrm>
              <a:off x="11037888" y="5397500"/>
              <a:ext cx="47625" cy="47625"/>
            </a:xfrm>
            <a:custGeom>
              <a:avLst/>
              <a:gdLst>
                <a:gd name="T0" fmla="*/ 61 w 121"/>
                <a:gd name="T1" fmla="*/ 121 h 121"/>
                <a:gd name="T2" fmla="*/ 72 w 121"/>
                <a:gd name="T3" fmla="*/ 119 h 121"/>
                <a:gd name="T4" fmla="*/ 84 w 121"/>
                <a:gd name="T5" fmla="*/ 115 h 121"/>
                <a:gd name="T6" fmla="*/ 94 w 121"/>
                <a:gd name="T7" fmla="*/ 110 h 121"/>
                <a:gd name="T8" fmla="*/ 103 w 121"/>
                <a:gd name="T9" fmla="*/ 103 h 121"/>
                <a:gd name="T10" fmla="*/ 111 w 121"/>
                <a:gd name="T11" fmla="*/ 94 h 121"/>
                <a:gd name="T12" fmla="*/ 116 w 121"/>
                <a:gd name="T13" fmla="*/ 83 h 121"/>
                <a:gd name="T14" fmla="*/ 120 w 121"/>
                <a:gd name="T15" fmla="*/ 72 h 121"/>
                <a:gd name="T16" fmla="*/ 121 w 121"/>
                <a:gd name="T17" fmla="*/ 60 h 121"/>
                <a:gd name="T18" fmla="*/ 120 w 121"/>
                <a:gd name="T19" fmla="*/ 49 h 121"/>
                <a:gd name="T20" fmla="*/ 116 w 121"/>
                <a:gd name="T21" fmla="*/ 37 h 121"/>
                <a:gd name="T22" fmla="*/ 111 w 121"/>
                <a:gd name="T23" fmla="*/ 27 h 121"/>
                <a:gd name="T24" fmla="*/ 103 w 121"/>
                <a:gd name="T25" fmla="*/ 18 h 121"/>
                <a:gd name="T26" fmla="*/ 94 w 121"/>
                <a:gd name="T27" fmla="*/ 10 h 121"/>
                <a:gd name="T28" fmla="*/ 84 w 121"/>
                <a:gd name="T29" fmla="*/ 5 h 121"/>
                <a:gd name="T30" fmla="*/ 72 w 121"/>
                <a:gd name="T31" fmla="*/ 1 h 121"/>
                <a:gd name="T32" fmla="*/ 61 w 121"/>
                <a:gd name="T33" fmla="*/ 0 h 121"/>
                <a:gd name="T34" fmla="*/ 49 w 121"/>
                <a:gd name="T35" fmla="*/ 1 h 121"/>
                <a:gd name="T36" fmla="*/ 38 w 121"/>
                <a:gd name="T37" fmla="*/ 5 h 121"/>
                <a:gd name="T38" fmla="*/ 27 w 121"/>
                <a:gd name="T39" fmla="*/ 10 h 121"/>
                <a:gd name="T40" fmla="*/ 18 w 121"/>
                <a:gd name="T41" fmla="*/ 18 h 121"/>
                <a:gd name="T42" fmla="*/ 11 w 121"/>
                <a:gd name="T43" fmla="*/ 27 h 121"/>
                <a:gd name="T44" fmla="*/ 6 w 121"/>
                <a:gd name="T45" fmla="*/ 37 h 121"/>
                <a:gd name="T46" fmla="*/ 2 w 121"/>
                <a:gd name="T47" fmla="*/ 49 h 121"/>
                <a:gd name="T48" fmla="*/ 0 w 121"/>
                <a:gd name="T49" fmla="*/ 60 h 121"/>
                <a:gd name="T50" fmla="*/ 2 w 121"/>
                <a:gd name="T51" fmla="*/ 72 h 121"/>
                <a:gd name="T52" fmla="*/ 6 w 121"/>
                <a:gd name="T53" fmla="*/ 83 h 121"/>
                <a:gd name="T54" fmla="*/ 11 w 121"/>
                <a:gd name="T55" fmla="*/ 94 h 121"/>
                <a:gd name="T56" fmla="*/ 18 w 121"/>
                <a:gd name="T57" fmla="*/ 103 h 121"/>
                <a:gd name="T58" fmla="*/ 27 w 121"/>
                <a:gd name="T59" fmla="*/ 110 h 121"/>
                <a:gd name="T60" fmla="*/ 38 w 121"/>
                <a:gd name="T61" fmla="*/ 115 h 121"/>
                <a:gd name="T62" fmla="*/ 49 w 121"/>
                <a:gd name="T63" fmla="*/ 119 h 121"/>
                <a:gd name="T64" fmla="*/ 61 w 121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121">
                  <a:moveTo>
                    <a:pt x="61" y="121"/>
                  </a:moveTo>
                  <a:lnTo>
                    <a:pt x="72" y="119"/>
                  </a:lnTo>
                  <a:lnTo>
                    <a:pt x="84" y="115"/>
                  </a:lnTo>
                  <a:lnTo>
                    <a:pt x="94" y="110"/>
                  </a:lnTo>
                  <a:lnTo>
                    <a:pt x="103" y="103"/>
                  </a:lnTo>
                  <a:lnTo>
                    <a:pt x="111" y="94"/>
                  </a:lnTo>
                  <a:lnTo>
                    <a:pt x="116" y="83"/>
                  </a:lnTo>
                  <a:lnTo>
                    <a:pt x="120" y="72"/>
                  </a:lnTo>
                  <a:lnTo>
                    <a:pt x="121" y="60"/>
                  </a:lnTo>
                  <a:lnTo>
                    <a:pt x="120" y="49"/>
                  </a:lnTo>
                  <a:lnTo>
                    <a:pt x="116" y="37"/>
                  </a:lnTo>
                  <a:lnTo>
                    <a:pt x="111" y="27"/>
                  </a:lnTo>
                  <a:lnTo>
                    <a:pt x="103" y="18"/>
                  </a:lnTo>
                  <a:lnTo>
                    <a:pt x="94" y="10"/>
                  </a:lnTo>
                  <a:lnTo>
                    <a:pt x="84" y="5"/>
                  </a:lnTo>
                  <a:lnTo>
                    <a:pt x="72" y="1"/>
                  </a:lnTo>
                  <a:lnTo>
                    <a:pt x="61" y="0"/>
                  </a:lnTo>
                  <a:lnTo>
                    <a:pt x="49" y="1"/>
                  </a:lnTo>
                  <a:lnTo>
                    <a:pt x="38" y="5"/>
                  </a:lnTo>
                  <a:lnTo>
                    <a:pt x="27" y="10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6" y="37"/>
                  </a:lnTo>
                  <a:lnTo>
                    <a:pt x="2" y="49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6" y="83"/>
                  </a:lnTo>
                  <a:lnTo>
                    <a:pt x="11" y="94"/>
                  </a:lnTo>
                  <a:lnTo>
                    <a:pt x="18" y="103"/>
                  </a:lnTo>
                  <a:lnTo>
                    <a:pt x="27" y="110"/>
                  </a:lnTo>
                  <a:lnTo>
                    <a:pt x="38" y="115"/>
                  </a:lnTo>
                  <a:lnTo>
                    <a:pt x="49" y="119"/>
                  </a:lnTo>
                  <a:lnTo>
                    <a:pt x="61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9" name="Freeform 3583"/>
            <p:cNvSpPr/>
            <p:nvPr/>
          </p:nvSpPr>
          <p:spPr bwMode="auto">
            <a:xfrm>
              <a:off x="11133138" y="5368925"/>
              <a:ext cx="76200" cy="76200"/>
            </a:xfrm>
            <a:custGeom>
              <a:avLst/>
              <a:gdLst>
                <a:gd name="T0" fmla="*/ 106 w 192"/>
                <a:gd name="T1" fmla="*/ 191 h 193"/>
                <a:gd name="T2" fmla="*/ 125 w 192"/>
                <a:gd name="T3" fmla="*/ 187 h 193"/>
                <a:gd name="T4" fmla="*/ 142 w 192"/>
                <a:gd name="T5" fmla="*/ 181 h 193"/>
                <a:gd name="T6" fmla="*/ 158 w 192"/>
                <a:gd name="T7" fmla="*/ 171 h 193"/>
                <a:gd name="T8" fmla="*/ 170 w 192"/>
                <a:gd name="T9" fmla="*/ 158 h 193"/>
                <a:gd name="T10" fmla="*/ 181 w 192"/>
                <a:gd name="T11" fmla="*/ 143 h 193"/>
                <a:gd name="T12" fmla="*/ 188 w 192"/>
                <a:gd name="T13" fmla="*/ 125 h 193"/>
                <a:gd name="T14" fmla="*/ 192 w 192"/>
                <a:gd name="T15" fmla="*/ 107 h 193"/>
                <a:gd name="T16" fmla="*/ 192 w 192"/>
                <a:gd name="T17" fmla="*/ 86 h 193"/>
                <a:gd name="T18" fmla="*/ 188 w 192"/>
                <a:gd name="T19" fmla="*/ 68 h 193"/>
                <a:gd name="T20" fmla="*/ 181 w 192"/>
                <a:gd name="T21" fmla="*/ 50 h 193"/>
                <a:gd name="T22" fmla="*/ 170 w 192"/>
                <a:gd name="T23" fmla="*/ 35 h 193"/>
                <a:gd name="T24" fmla="*/ 158 w 192"/>
                <a:gd name="T25" fmla="*/ 22 h 193"/>
                <a:gd name="T26" fmla="*/ 142 w 192"/>
                <a:gd name="T27" fmla="*/ 12 h 193"/>
                <a:gd name="T28" fmla="*/ 125 w 192"/>
                <a:gd name="T29" fmla="*/ 5 h 193"/>
                <a:gd name="T30" fmla="*/ 106 w 192"/>
                <a:gd name="T31" fmla="*/ 1 h 193"/>
                <a:gd name="T32" fmla="*/ 87 w 192"/>
                <a:gd name="T33" fmla="*/ 1 h 193"/>
                <a:gd name="T34" fmla="*/ 68 w 192"/>
                <a:gd name="T35" fmla="*/ 5 h 193"/>
                <a:gd name="T36" fmla="*/ 51 w 192"/>
                <a:gd name="T37" fmla="*/ 12 h 193"/>
                <a:gd name="T38" fmla="*/ 36 w 192"/>
                <a:gd name="T39" fmla="*/ 22 h 193"/>
                <a:gd name="T40" fmla="*/ 23 w 192"/>
                <a:gd name="T41" fmla="*/ 35 h 193"/>
                <a:gd name="T42" fmla="*/ 11 w 192"/>
                <a:gd name="T43" fmla="*/ 50 h 193"/>
                <a:gd name="T44" fmla="*/ 5 w 192"/>
                <a:gd name="T45" fmla="*/ 68 h 193"/>
                <a:gd name="T46" fmla="*/ 1 w 192"/>
                <a:gd name="T47" fmla="*/ 86 h 193"/>
                <a:gd name="T48" fmla="*/ 1 w 192"/>
                <a:gd name="T49" fmla="*/ 107 h 193"/>
                <a:gd name="T50" fmla="*/ 5 w 192"/>
                <a:gd name="T51" fmla="*/ 125 h 193"/>
                <a:gd name="T52" fmla="*/ 11 w 192"/>
                <a:gd name="T53" fmla="*/ 143 h 193"/>
                <a:gd name="T54" fmla="*/ 23 w 192"/>
                <a:gd name="T55" fmla="*/ 158 h 193"/>
                <a:gd name="T56" fmla="*/ 36 w 192"/>
                <a:gd name="T57" fmla="*/ 171 h 193"/>
                <a:gd name="T58" fmla="*/ 51 w 192"/>
                <a:gd name="T59" fmla="*/ 181 h 193"/>
                <a:gd name="T60" fmla="*/ 68 w 192"/>
                <a:gd name="T61" fmla="*/ 187 h 193"/>
                <a:gd name="T62" fmla="*/ 87 w 192"/>
                <a:gd name="T63" fmla="*/ 19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3">
                  <a:moveTo>
                    <a:pt x="96" y="193"/>
                  </a:moveTo>
                  <a:lnTo>
                    <a:pt x="106" y="191"/>
                  </a:lnTo>
                  <a:lnTo>
                    <a:pt x="115" y="190"/>
                  </a:lnTo>
                  <a:lnTo>
                    <a:pt x="125" y="187"/>
                  </a:lnTo>
                  <a:lnTo>
                    <a:pt x="133" y="185"/>
                  </a:lnTo>
                  <a:lnTo>
                    <a:pt x="142" y="181"/>
                  </a:lnTo>
                  <a:lnTo>
                    <a:pt x="150" y="176"/>
                  </a:lnTo>
                  <a:lnTo>
                    <a:pt x="158" y="171"/>
                  </a:lnTo>
                  <a:lnTo>
                    <a:pt x="164" y="164"/>
                  </a:lnTo>
                  <a:lnTo>
                    <a:pt x="170" y="158"/>
                  </a:lnTo>
                  <a:lnTo>
                    <a:pt x="176" y="150"/>
                  </a:lnTo>
                  <a:lnTo>
                    <a:pt x="181" y="143"/>
                  </a:lnTo>
                  <a:lnTo>
                    <a:pt x="185" y="134"/>
                  </a:lnTo>
                  <a:lnTo>
                    <a:pt x="188" y="125"/>
                  </a:lnTo>
                  <a:lnTo>
                    <a:pt x="191" y="116"/>
                  </a:lnTo>
                  <a:lnTo>
                    <a:pt x="192" y="107"/>
                  </a:lnTo>
                  <a:lnTo>
                    <a:pt x="192" y="96"/>
                  </a:lnTo>
                  <a:lnTo>
                    <a:pt x="192" y="86"/>
                  </a:lnTo>
                  <a:lnTo>
                    <a:pt x="191" y="77"/>
                  </a:lnTo>
                  <a:lnTo>
                    <a:pt x="188" y="68"/>
                  </a:lnTo>
                  <a:lnTo>
                    <a:pt x="185" y="59"/>
                  </a:lnTo>
                  <a:lnTo>
                    <a:pt x="181" y="50"/>
                  </a:lnTo>
                  <a:lnTo>
                    <a:pt x="176" y="42"/>
                  </a:lnTo>
                  <a:lnTo>
                    <a:pt x="170" y="35"/>
                  </a:lnTo>
                  <a:lnTo>
                    <a:pt x="164" y="28"/>
                  </a:lnTo>
                  <a:lnTo>
                    <a:pt x="158" y="22"/>
                  </a:lnTo>
                  <a:lnTo>
                    <a:pt x="150" y="17"/>
                  </a:lnTo>
                  <a:lnTo>
                    <a:pt x="142" y="12"/>
                  </a:lnTo>
                  <a:lnTo>
                    <a:pt x="133" y="8"/>
                  </a:lnTo>
                  <a:lnTo>
                    <a:pt x="125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7" y="1"/>
                  </a:lnTo>
                  <a:lnTo>
                    <a:pt x="77" y="3"/>
                  </a:lnTo>
                  <a:lnTo>
                    <a:pt x="68" y="5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6" y="22"/>
                  </a:lnTo>
                  <a:lnTo>
                    <a:pt x="28" y="28"/>
                  </a:lnTo>
                  <a:lnTo>
                    <a:pt x="23" y="35"/>
                  </a:lnTo>
                  <a:lnTo>
                    <a:pt x="16" y="42"/>
                  </a:lnTo>
                  <a:lnTo>
                    <a:pt x="11" y="50"/>
                  </a:lnTo>
                  <a:lnTo>
                    <a:pt x="7" y="59"/>
                  </a:lnTo>
                  <a:lnTo>
                    <a:pt x="5" y="68"/>
                  </a:lnTo>
                  <a:lnTo>
                    <a:pt x="2" y="77"/>
                  </a:lnTo>
                  <a:lnTo>
                    <a:pt x="1" y="86"/>
                  </a:lnTo>
                  <a:lnTo>
                    <a:pt x="0" y="96"/>
                  </a:lnTo>
                  <a:lnTo>
                    <a:pt x="1" y="107"/>
                  </a:lnTo>
                  <a:lnTo>
                    <a:pt x="2" y="116"/>
                  </a:lnTo>
                  <a:lnTo>
                    <a:pt x="5" y="125"/>
                  </a:lnTo>
                  <a:lnTo>
                    <a:pt x="7" y="134"/>
                  </a:lnTo>
                  <a:lnTo>
                    <a:pt x="11" y="143"/>
                  </a:lnTo>
                  <a:lnTo>
                    <a:pt x="16" y="150"/>
                  </a:lnTo>
                  <a:lnTo>
                    <a:pt x="23" y="158"/>
                  </a:lnTo>
                  <a:lnTo>
                    <a:pt x="28" y="164"/>
                  </a:lnTo>
                  <a:lnTo>
                    <a:pt x="36" y="171"/>
                  </a:lnTo>
                  <a:lnTo>
                    <a:pt x="42" y="176"/>
                  </a:lnTo>
                  <a:lnTo>
                    <a:pt x="51" y="181"/>
                  </a:lnTo>
                  <a:lnTo>
                    <a:pt x="59" y="185"/>
                  </a:lnTo>
                  <a:lnTo>
                    <a:pt x="68" y="187"/>
                  </a:lnTo>
                  <a:lnTo>
                    <a:pt x="77" y="190"/>
                  </a:lnTo>
                  <a:lnTo>
                    <a:pt x="87" y="191"/>
                  </a:lnTo>
                  <a:lnTo>
                    <a:pt x="96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5891530" y="4668520"/>
            <a:ext cx="409575" cy="4095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66275" y="4630420"/>
            <a:ext cx="486410" cy="48641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1065397" y="1451186"/>
            <a:ext cx="2597653" cy="2597654"/>
            <a:chOff x="5355769" y="1849893"/>
            <a:chExt cx="466163" cy="466163"/>
          </a:xfrm>
        </p:grpSpPr>
        <p:sp>
          <p:nvSpPr>
            <p:cNvPr id="52" name="Oval 51"/>
            <p:cNvSpPr/>
            <p:nvPr/>
          </p:nvSpPr>
          <p:spPr>
            <a:xfrm>
              <a:off x="5355769" y="1849893"/>
              <a:ext cx="466163" cy="466163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5377414" y="1871538"/>
              <a:ext cx="422872" cy="422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4" name="Pie 43"/>
            <p:cNvSpPr/>
            <p:nvPr/>
          </p:nvSpPr>
          <p:spPr>
            <a:xfrm flipH="1">
              <a:off x="5377416" y="1871538"/>
              <a:ext cx="422872" cy="422872"/>
            </a:xfrm>
            <a:prstGeom prst="pie">
              <a:avLst>
                <a:gd name="adj1" fmla="val 1816452"/>
                <a:gd name="adj2" fmla="val 1620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5429995" y="192411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467524" y="2033264"/>
              <a:ext cx="242652" cy="9941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accent1"/>
                  </a:solidFill>
                  <a:latin typeface="+mj-lt"/>
                </a:rPr>
                <a:t>68%</a:t>
              </a:r>
              <a:endParaRPr lang="en-US" sz="3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1486653" y="4290200"/>
            <a:ext cx="175514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LOREM IPSUM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186009" y="4657036"/>
            <a:ext cx="2356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4797174" y="1451186"/>
            <a:ext cx="2597653" cy="2597654"/>
            <a:chOff x="5355769" y="1849893"/>
            <a:chExt cx="466163" cy="466163"/>
          </a:xfrm>
        </p:grpSpPr>
        <p:sp>
          <p:nvSpPr>
            <p:cNvPr id="61" name="Oval 60"/>
            <p:cNvSpPr/>
            <p:nvPr/>
          </p:nvSpPr>
          <p:spPr>
            <a:xfrm>
              <a:off x="5355769" y="1849893"/>
              <a:ext cx="466163" cy="466163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5377414" y="1871538"/>
              <a:ext cx="422872" cy="422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3" name="Pie 35"/>
            <p:cNvSpPr/>
            <p:nvPr/>
          </p:nvSpPr>
          <p:spPr>
            <a:xfrm flipH="1">
              <a:off x="5377416" y="1871538"/>
              <a:ext cx="422872" cy="422872"/>
            </a:xfrm>
            <a:prstGeom prst="pie">
              <a:avLst>
                <a:gd name="adj1" fmla="val 7164634"/>
                <a:gd name="adj2" fmla="val 1620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5429995" y="192411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467524" y="2033264"/>
              <a:ext cx="242652" cy="9941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accent1"/>
                  </a:solidFill>
                  <a:latin typeface="+mj-lt"/>
                </a:rPr>
                <a:t>45%</a:t>
              </a:r>
              <a:endParaRPr lang="en-US" sz="3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5218430" y="4290200"/>
            <a:ext cx="175514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LOREM IPSUM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917786" y="4657036"/>
            <a:ext cx="2356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8528950" y="1451186"/>
            <a:ext cx="2597653" cy="2597654"/>
            <a:chOff x="5355769" y="1849893"/>
            <a:chExt cx="466163" cy="466163"/>
          </a:xfrm>
        </p:grpSpPr>
        <p:sp>
          <p:nvSpPr>
            <p:cNvPr id="70" name="Oval 69"/>
            <p:cNvSpPr/>
            <p:nvPr/>
          </p:nvSpPr>
          <p:spPr>
            <a:xfrm>
              <a:off x="5355769" y="1849893"/>
              <a:ext cx="466163" cy="466163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5377414" y="1871538"/>
              <a:ext cx="422872" cy="422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2" name="Pie 55"/>
            <p:cNvSpPr/>
            <p:nvPr/>
          </p:nvSpPr>
          <p:spPr>
            <a:xfrm flipH="1">
              <a:off x="5377416" y="1871538"/>
              <a:ext cx="422872" cy="422872"/>
            </a:xfrm>
            <a:prstGeom prst="pie">
              <a:avLst>
                <a:gd name="adj1" fmla="val 11706695"/>
                <a:gd name="adj2" fmla="val 1620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5429995" y="192411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467524" y="2033264"/>
              <a:ext cx="242652" cy="9941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accent1"/>
                  </a:solidFill>
                  <a:latin typeface="+mj-lt"/>
                </a:rPr>
                <a:t>19%</a:t>
              </a:r>
              <a:endParaRPr lang="en-US" sz="3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8950206" y="4290200"/>
            <a:ext cx="175514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LOREM IPSUM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649562" y="4657036"/>
            <a:ext cx="2356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0" y="2551585"/>
            <a:ext cx="12192000" cy="367117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aphicFrame>
        <p:nvGraphicFramePr>
          <p:cNvPr id="32" name="Chart 31"/>
          <p:cNvGraphicFramePr/>
          <p:nvPr/>
        </p:nvGraphicFramePr>
        <p:xfrm>
          <a:off x="1312989" y="2679212"/>
          <a:ext cx="9566023" cy="3415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pSp>
        <p:nvGrpSpPr>
          <p:cNvPr id="34" name="Group 33"/>
          <p:cNvGrpSpPr/>
          <p:nvPr/>
        </p:nvGrpSpPr>
        <p:grpSpPr>
          <a:xfrm>
            <a:off x="441962" y="1254001"/>
            <a:ext cx="997107" cy="1124729"/>
            <a:chOff x="437634" y="1720542"/>
            <a:chExt cx="997107" cy="1124729"/>
          </a:xfrm>
        </p:grpSpPr>
        <p:sp>
          <p:nvSpPr>
            <p:cNvPr id="47" name="Freeform 80"/>
            <p:cNvSpPr/>
            <p:nvPr/>
          </p:nvSpPr>
          <p:spPr bwMode="auto">
            <a:xfrm>
              <a:off x="437634" y="2313321"/>
              <a:ext cx="997107" cy="531950"/>
            </a:xfrm>
            <a:custGeom>
              <a:avLst/>
              <a:gdLst>
                <a:gd name="T0" fmla="*/ 0 w 351"/>
                <a:gd name="T1" fmla="*/ 12 h 187"/>
                <a:gd name="T2" fmla="*/ 11 w 351"/>
                <a:gd name="T3" fmla="*/ 0 h 187"/>
                <a:gd name="T4" fmla="*/ 340 w 351"/>
                <a:gd name="T5" fmla="*/ 0 h 187"/>
                <a:gd name="T6" fmla="*/ 351 w 351"/>
                <a:gd name="T7" fmla="*/ 12 h 187"/>
                <a:gd name="T8" fmla="*/ 351 w 351"/>
                <a:gd name="T9" fmla="*/ 84 h 187"/>
                <a:gd name="T10" fmla="*/ 341 w 351"/>
                <a:gd name="T11" fmla="*/ 100 h 187"/>
                <a:gd name="T12" fmla="*/ 186 w 351"/>
                <a:gd name="T13" fmla="*/ 184 h 187"/>
                <a:gd name="T14" fmla="*/ 166 w 351"/>
                <a:gd name="T15" fmla="*/ 184 h 187"/>
                <a:gd name="T16" fmla="*/ 10 w 351"/>
                <a:gd name="T17" fmla="*/ 100 h 187"/>
                <a:gd name="T18" fmla="*/ 0 w 351"/>
                <a:gd name="T19" fmla="*/ 83 h 187"/>
                <a:gd name="T20" fmla="*/ 0 w 351"/>
                <a:gd name="T21" fmla="*/ 1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1" h="187">
                  <a:moveTo>
                    <a:pt x="0" y="12"/>
                  </a:moveTo>
                  <a:cubicBezTo>
                    <a:pt x="0" y="5"/>
                    <a:pt x="5" y="0"/>
                    <a:pt x="11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46" y="0"/>
                    <a:pt x="351" y="5"/>
                    <a:pt x="351" y="12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90"/>
                    <a:pt x="347" y="98"/>
                    <a:pt x="341" y="100"/>
                  </a:cubicBezTo>
                  <a:cubicBezTo>
                    <a:pt x="186" y="184"/>
                    <a:pt x="186" y="184"/>
                    <a:pt x="186" y="184"/>
                  </a:cubicBezTo>
                  <a:cubicBezTo>
                    <a:pt x="180" y="187"/>
                    <a:pt x="171" y="187"/>
                    <a:pt x="166" y="184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5" y="97"/>
                    <a:pt x="0" y="90"/>
                    <a:pt x="0" y="8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chemeClr val="bg2"/>
            </a:solidFill>
            <a:ln w="158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81"/>
            <p:cNvSpPr/>
            <p:nvPr/>
          </p:nvSpPr>
          <p:spPr bwMode="auto">
            <a:xfrm>
              <a:off x="437634" y="1720542"/>
              <a:ext cx="997107" cy="530758"/>
            </a:xfrm>
            <a:custGeom>
              <a:avLst/>
              <a:gdLst>
                <a:gd name="T0" fmla="*/ 0 w 351"/>
                <a:gd name="T1" fmla="*/ 176 h 187"/>
                <a:gd name="T2" fmla="*/ 11 w 351"/>
                <a:gd name="T3" fmla="*/ 187 h 187"/>
                <a:gd name="T4" fmla="*/ 340 w 351"/>
                <a:gd name="T5" fmla="*/ 187 h 187"/>
                <a:gd name="T6" fmla="*/ 351 w 351"/>
                <a:gd name="T7" fmla="*/ 176 h 187"/>
                <a:gd name="T8" fmla="*/ 351 w 351"/>
                <a:gd name="T9" fmla="*/ 103 h 187"/>
                <a:gd name="T10" fmla="*/ 341 w 351"/>
                <a:gd name="T11" fmla="*/ 87 h 187"/>
                <a:gd name="T12" fmla="*/ 186 w 351"/>
                <a:gd name="T13" fmla="*/ 3 h 187"/>
                <a:gd name="T14" fmla="*/ 166 w 351"/>
                <a:gd name="T15" fmla="*/ 3 h 187"/>
                <a:gd name="T16" fmla="*/ 10 w 351"/>
                <a:gd name="T17" fmla="*/ 87 h 187"/>
                <a:gd name="T18" fmla="*/ 0 w 351"/>
                <a:gd name="T19" fmla="*/ 104 h 187"/>
                <a:gd name="T20" fmla="*/ 0 w 351"/>
                <a:gd name="T21" fmla="*/ 17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1" h="187">
                  <a:moveTo>
                    <a:pt x="0" y="176"/>
                  </a:moveTo>
                  <a:cubicBezTo>
                    <a:pt x="0" y="182"/>
                    <a:pt x="5" y="187"/>
                    <a:pt x="11" y="187"/>
                  </a:cubicBezTo>
                  <a:cubicBezTo>
                    <a:pt x="340" y="187"/>
                    <a:pt x="340" y="187"/>
                    <a:pt x="340" y="187"/>
                  </a:cubicBezTo>
                  <a:cubicBezTo>
                    <a:pt x="346" y="187"/>
                    <a:pt x="351" y="182"/>
                    <a:pt x="351" y="176"/>
                  </a:cubicBezTo>
                  <a:cubicBezTo>
                    <a:pt x="351" y="103"/>
                    <a:pt x="351" y="103"/>
                    <a:pt x="351" y="103"/>
                  </a:cubicBezTo>
                  <a:cubicBezTo>
                    <a:pt x="351" y="97"/>
                    <a:pt x="347" y="90"/>
                    <a:pt x="341" y="87"/>
                  </a:cubicBezTo>
                  <a:cubicBezTo>
                    <a:pt x="186" y="3"/>
                    <a:pt x="186" y="3"/>
                    <a:pt x="186" y="3"/>
                  </a:cubicBezTo>
                  <a:cubicBezTo>
                    <a:pt x="180" y="0"/>
                    <a:pt x="171" y="0"/>
                    <a:pt x="166" y="3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5" y="90"/>
                    <a:pt x="0" y="98"/>
                    <a:pt x="0" y="104"/>
                  </a:cubicBezTo>
                  <a:lnTo>
                    <a:pt x="0" y="176"/>
                  </a:ln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9" name="TextBox 101"/>
            <p:cNvSpPr txBox="1"/>
            <p:nvPr/>
          </p:nvSpPr>
          <p:spPr>
            <a:xfrm>
              <a:off x="699060" y="1933728"/>
              <a:ext cx="474254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+50%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57" name="TextBox 102"/>
            <p:cNvSpPr txBox="1"/>
            <p:nvPr/>
          </p:nvSpPr>
          <p:spPr>
            <a:xfrm>
              <a:off x="699060" y="2378233"/>
              <a:ext cx="474254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-25%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610496" y="1370357"/>
            <a:ext cx="4114800" cy="890370"/>
            <a:chOff x="1606168" y="1893032"/>
            <a:chExt cx="4114800" cy="890370"/>
          </a:xfrm>
        </p:grpSpPr>
        <p:sp>
          <p:nvSpPr>
            <p:cNvPr id="45" name="TextBox 34"/>
            <p:cNvSpPr txBox="1"/>
            <p:nvPr/>
          </p:nvSpPr>
          <p:spPr>
            <a:xfrm>
              <a:off x="1606168" y="2137071"/>
              <a:ext cx="4114800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prstClr val="black"/>
                  </a:solidFill>
                </a:rPr>
                <a:t>Lorem ipsum dolor sit </a:t>
              </a:r>
              <a:r>
                <a:rPr lang="en-US" sz="1400" dirty="0" err="1">
                  <a:solidFill>
                    <a:prstClr val="black"/>
                  </a:solidFill>
                </a:rPr>
                <a:t>amet</a:t>
              </a:r>
              <a:r>
                <a:rPr lang="en-US" sz="1400" dirty="0">
                  <a:solidFill>
                    <a:prstClr val="black"/>
                  </a:solidFill>
                </a:rPr>
                <a:t>, </a:t>
              </a:r>
              <a:r>
                <a:rPr lang="en-US" sz="1400" dirty="0" err="1">
                  <a:solidFill>
                    <a:prstClr val="black"/>
                  </a:solidFill>
                </a:rPr>
                <a:t>consectetur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adipiscing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eli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Aenean</a:t>
              </a:r>
              <a:r>
                <a:rPr lang="en-US" sz="1400" dirty="0">
                  <a:solidFill>
                    <a:prstClr val="black"/>
                  </a:solidFill>
                </a:rPr>
                <a:t> fermentum </a:t>
              </a:r>
              <a:r>
                <a:rPr lang="en-US" sz="1400" dirty="0" err="1">
                  <a:solidFill>
                    <a:prstClr val="black"/>
                  </a:solidFill>
                </a:rPr>
                <a:t>fringilla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purus</a:t>
              </a:r>
              <a:r>
                <a:rPr lang="en-US" sz="1400" dirty="0">
                  <a:solidFill>
                    <a:prstClr val="black"/>
                  </a:solidFill>
                </a:rPr>
                <a:t> id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Donec</a:t>
              </a:r>
              <a:r>
                <a:rPr lang="en-US" sz="1400" dirty="0">
                  <a:solidFill>
                    <a:prstClr val="black"/>
                  </a:solidFill>
                </a:rPr>
                <a:t> non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 dui, a convallis </a:t>
              </a:r>
              <a:r>
                <a:rPr lang="en-US" sz="1400" dirty="0" err="1">
                  <a:solidFill>
                    <a:prstClr val="black"/>
                  </a:solidFill>
                </a:rPr>
                <a:t>risus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46" name="TextBox 103"/>
            <p:cNvSpPr txBox="1"/>
            <p:nvPr/>
          </p:nvSpPr>
          <p:spPr>
            <a:xfrm>
              <a:off x="1606168" y="1893032"/>
              <a:ext cx="4114800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STATUS</a:t>
              </a:r>
              <a:endParaRPr lang="en-US" sz="1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111912" y="1143165"/>
            <a:ext cx="1618747" cy="1346400"/>
            <a:chOff x="6029828" y="1143165"/>
            <a:chExt cx="1618747" cy="1346400"/>
          </a:xfrm>
        </p:grpSpPr>
        <p:graphicFrame>
          <p:nvGraphicFramePr>
            <p:cNvPr id="42" name="Chart 41"/>
            <p:cNvGraphicFramePr>
              <a:graphicFrameLocks noChangeAspect="1"/>
            </p:cNvGraphicFramePr>
            <p:nvPr/>
          </p:nvGraphicFramePr>
          <p:xfrm>
            <a:off x="6029828" y="1143165"/>
            <a:ext cx="1618747" cy="13464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3" name="Oval 42"/>
            <p:cNvSpPr/>
            <p:nvPr/>
          </p:nvSpPr>
          <p:spPr>
            <a:xfrm>
              <a:off x="6421848" y="1398189"/>
              <a:ext cx="834707" cy="8347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4" name="TextBox 109"/>
            <p:cNvSpPr txBox="1"/>
            <p:nvPr/>
          </p:nvSpPr>
          <p:spPr>
            <a:xfrm>
              <a:off x="6433995" y="1630876"/>
              <a:ext cx="804004" cy="36933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65%</a:t>
              </a:r>
              <a:endParaRPr lang="en-US" sz="24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7635237" y="1370357"/>
            <a:ext cx="4114801" cy="890370"/>
            <a:chOff x="1606166" y="1893032"/>
            <a:chExt cx="4114801" cy="890370"/>
          </a:xfrm>
        </p:grpSpPr>
        <p:sp>
          <p:nvSpPr>
            <p:cNvPr id="40" name="TextBox 114"/>
            <p:cNvSpPr txBox="1"/>
            <p:nvPr/>
          </p:nvSpPr>
          <p:spPr>
            <a:xfrm>
              <a:off x="1606167" y="2137071"/>
              <a:ext cx="4114800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prstClr val="black"/>
                  </a:solidFill>
                </a:rPr>
                <a:t>Lorem ipsum dolor sit </a:t>
              </a:r>
              <a:r>
                <a:rPr lang="en-US" sz="1400" dirty="0" err="1">
                  <a:solidFill>
                    <a:prstClr val="black"/>
                  </a:solidFill>
                </a:rPr>
                <a:t>amet</a:t>
              </a:r>
              <a:r>
                <a:rPr lang="en-US" sz="1400" dirty="0">
                  <a:solidFill>
                    <a:prstClr val="black"/>
                  </a:solidFill>
                </a:rPr>
                <a:t>, </a:t>
              </a:r>
              <a:r>
                <a:rPr lang="en-US" sz="1400" dirty="0" err="1">
                  <a:solidFill>
                    <a:prstClr val="black"/>
                  </a:solidFill>
                </a:rPr>
                <a:t>consectetur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adipiscing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eli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Aenean</a:t>
              </a:r>
              <a:r>
                <a:rPr lang="en-US" sz="1400" dirty="0">
                  <a:solidFill>
                    <a:prstClr val="black"/>
                  </a:solidFill>
                </a:rPr>
                <a:t> fermentum </a:t>
              </a:r>
              <a:r>
                <a:rPr lang="en-US" sz="1400" dirty="0" err="1">
                  <a:solidFill>
                    <a:prstClr val="black"/>
                  </a:solidFill>
                </a:rPr>
                <a:t>fringilla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purus</a:t>
              </a:r>
              <a:r>
                <a:rPr lang="en-US" sz="1400" dirty="0">
                  <a:solidFill>
                    <a:prstClr val="black"/>
                  </a:solidFill>
                </a:rPr>
                <a:t> id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Donec</a:t>
              </a:r>
              <a:r>
                <a:rPr lang="en-US" sz="1400" dirty="0">
                  <a:solidFill>
                    <a:prstClr val="black"/>
                  </a:solidFill>
                </a:rPr>
                <a:t> non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 dui, a convallis </a:t>
              </a:r>
              <a:r>
                <a:rPr lang="en-US" sz="1400" dirty="0" err="1">
                  <a:solidFill>
                    <a:prstClr val="black"/>
                  </a:solidFill>
                </a:rPr>
                <a:t>risus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41" name="TextBox 115"/>
            <p:cNvSpPr txBox="1"/>
            <p:nvPr/>
          </p:nvSpPr>
          <p:spPr>
            <a:xfrm>
              <a:off x="1606166" y="1893032"/>
              <a:ext cx="4114800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RESULT</a:t>
              </a:r>
              <a:endParaRPr lang="en-US" sz="1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6096000" y="1357774"/>
            <a:ext cx="0" cy="1020956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Resultados Finais</a:t>
            </a:r>
            <a:endParaRPr lang="en-US" alt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8" name="Group 77"/>
          <p:cNvGrpSpPr/>
          <p:nvPr/>
        </p:nvGrpSpPr>
        <p:grpSpPr>
          <a:xfrm>
            <a:off x="9063165" y="4105689"/>
            <a:ext cx="414970" cy="596104"/>
            <a:chOff x="10501313" y="2228850"/>
            <a:chExt cx="200025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04"/>
            <p:cNvSpPr/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05"/>
            <p:cNvSpPr/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06"/>
            <p:cNvSpPr/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14033" y="4107574"/>
            <a:ext cx="414636" cy="592334"/>
            <a:chOff x="11637963" y="1925320"/>
            <a:chExt cx="200025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4" name="Freeform 209"/>
            <p:cNvSpPr>
              <a:spLocks noEditPoints="1"/>
            </p:cNvSpPr>
            <p:nvPr/>
          </p:nvSpPr>
          <p:spPr bwMode="auto">
            <a:xfrm>
              <a:off x="11637963" y="1925320"/>
              <a:ext cx="200025" cy="285750"/>
            </a:xfrm>
            <a:custGeom>
              <a:avLst/>
              <a:gdLst>
                <a:gd name="T0" fmla="*/ 550 w 632"/>
                <a:gd name="T1" fmla="*/ 800 h 904"/>
                <a:gd name="T2" fmla="*/ 542 w 632"/>
                <a:gd name="T3" fmla="*/ 796 h 904"/>
                <a:gd name="T4" fmla="*/ 533 w 632"/>
                <a:gd name="T5" fmla="*/ 800 h 904"/>
                <a:gd name="T6" fmla="*/ 401 w 632"/>
                <a:gd name="T7" fmla="*/ 802 h 904"/>
                <a:gd name="T8" fmla="*/ 394 w 632"/>
                <a:gd name="T9" fmla="*/ 797 h 904"/>
                <a:gd name="T10" fmla="*/ 385 w 632"/>
                <a:gd name="T11" fmla="*/ 797 h 904"/>
                <a:gd name="T12" fmla="*/ 316 w 632"/>
                <a:gd name="T13" fmla="*/ 866 h 904"/>
                <a:gd name="T14" fmla="*/ 247 w 632"/>
                <a:gd name="T15" fmla="*/ 798 h 904"/>
                <a:gd name="T16" fmla="*/ 241 w 632"/>
                <a:gd name="T17" fmla="*/ 796 h 904"/>
                <a:gd name="T18" fmla="*/ 235 w 632"/>
                <a:gd name="T19" fmla="*/ 798 h 904"/>
                <a:gd name="T20" fmla="*/ 167 w 632"/>
                <a:gd name="T21" fmla="*/ 867 h 904"/>
                <a:gd name="T22" fmla="*/ 96 w 632"/>
                <a:gd name="T23" fmla="*/ 798 h 904"/>
                <a:gd name="T24" fmla="*/ 87 w 632"/>
                <a:gd name="T25" fmla="*/ 797 h 904"/>
                <a:gd name="T26" fmla="*/ 80 w 632"/>
                <a:gd name="T27" fmla="*/ 802 h 904"/>
                <a:gd name="T28" fmla="*/ 80 w 632"/>
                <a:gd name="T29" fmla="*/ 101 h 904"/>
                <a:gd name="T30" fmla="*/ 88 w 632"/>
                <a:gd name="T31" fmla="*/ 105 h 904"/>
                <a:gd name="T32" fmla="*/ 96 w 632"/>
                <a:gd name="T33" fmla="*/ 105 h 904"/>
                <a:gd name="T34" fmla="*/ 165 w 632"/>
                <a:gd name="T35" fmla="*/ 36 h 904"/>
                <a:gd name="T36" fmla="*/ 235 w 632"/>
                <a:gd name="T37" fmla="*/ 105 h 904"/>
                <a:gd name="T38" fmla="*/ 244 w 632"/>
                <a:gd name="T39" fmla="*/ 105 h 904"/>
                <a:gd name="T40" fmla="*/ 251 w 632"/>
                <a:gd name="T41" fmla="*/ 101 h 904"/>
                <a:gd name="T42" fmla="*/ 383 w 632"/>
                <a:gd name="T43" fmla="*/ 103 h 904"/>
                <a:gd name="T44" fmla="*/ 391 w 632"/>
                <a:gd name="T45" fmla="*/ 106 h 904"/>
                <a:gd name="T46" fmla="*/ 399 w 632"/>
                <a:gd name="T47" fmla="*/ 103 h 904"/>
                <a:gd name="T48" fmla="*/ 531 w 632"/>
                <a:gd name="T49" fmla="*/ 101 h 904"/>
                <a:gd name="T50" fmla="*/ 539 w 632"/>
                <a:gd name="T51" fmla="*/ 105 h 904"/>
                <a:gd name="T52" fmla="*/ 547 w 632"/>
                <a:gd name="T53" fmla="*/ 105 h 904"/>
                <a:gd name="T54" fmla="*/ 602 w 632"/>
                <a:gd name="T55" fmla="*/ 52 h 904"/>
                <a:gd name="T56" fmla="*/ 618 w 632"/>
                <a:gd name="T57" fmla="*/ 2 h 904"/>
                <a:gd name="T58" fmla="*/ 606 w 632"/>
                <a:gd name="T59" fmla="*/ 6 h 904"/>
                <a:gd name="T60" fmla="*/ 474 w 632"/>
                <a:gd name="T61" fmla="*/ 3 h 904"/>
                <a:gd name="T62" fmla="*/ 467 w 632"/>
                <a:gd name="T63" fmla="*/ 0 h 904"/>
                <a:gd name="T64" fmla="*/ 458 w 632"/>
                <a:gd name="T65" fmla="*/ 3 h 904"/>
                <a:gd name="T66" fmla="*/ 326 w 632"/>
                <a:gd name="T67" fmla="*/ 5 h 904"/>
                <a:gd name="T68" fmla="*/ 319 w 632"/>
                <a:gd name="T69" fmla="*/ 1 h 904"/>
                <a:gd name="T70" fmla="*/ 310 w 632"/>
                <a:gd name="T71" fmla="*/ 1 h 904"/>
                <a:gd name="T72" fmla="*/ 241 w 632"/>
                <a:gd name="T73" fmla="*/ 69 h 904"/>
                <a:gd name="T74" fmla="*/ 172 w 632"/>
                <a:gd name="T75" fmla="*/ 1 h 904"/>
                <a:gd name="T76" fmla="*/ 163 w 632"/>
                <a:gd name="T77" fmla="*/ 1 h 904"/>
                <a:gd name="T78" fmla="*/ 155 w 632"/>
                <a:gd name="T79" fmla="*/ 5 h 904"/>
                <a:gd name="T80" fmla="*/ 22 w 632"/>
                <a:gd name="T81" fmla="*/ 3 h 904"/>
                <a:gd name="T82" fmla="*/ 10 w 632"/>
                <a:gd name="T83" fmla="*/ 3 h 904"/>
                <a:gd name="T84" fmla="*/ 1 w 632"/>
                <a:gd name="T85" fmla="*/ 12 h 904"/>
                <a:gd name="T86" fmla="*/ 1 w 632"/>
                <a:gd name="T87" fmla="*/ 893 h 904"/>
                <a:gd name="T88" fmla="*/ 10 w 632"/>
                <a:gd name="T89" fmla="*/ 902 h 904"/>
                <a:gd name="T90" fmla="*/ 23 w 632"/>
                <a:gd name="T91" fmla="*/ 901 h 904"/>
                <a:gd name="T92" fmla="*/ 157 w 632"/>
                <a:gd name="T93" fmla="*/ 899 h 904"/>
                <a:gd name="T94" fmla="*/ 164 w 632"/>
                <a:gd name="T95" fmla="*/ 904 h 904"/>
                <a:gd name="T96" fmla="*/ 173 w 632"/>
                <a:gd name="T97" fmla="*/ 902 h 904"/>
                <a:gd name="T98" fmla="*/ 241 w 632"/>
                <a:gd name="T99" fmla="*/ 833 h 904"/>
                <a:gd name="T100" fmla="*/ 310 w 632"/>
                <a:gd name="T101" fmla="*/ 901 h 904"/>
                <a:gd name="T102" fmla="*/ 319 w 632"/>
                <a:gd name="T103" fmla="*/ 901 h 904"/>
                <a:gd name="T104" fmla="*/ 326 w 632"/>
                <a:gd name="T105" fmla="*/ 898 h 904"/>
                <a:gd name="T106" fmla="*/ 458 w 632"/>
                <a:gd name="T107" fmla="*/ 899 h 904"/>
                <a:gd name="T108" fmla="*/ 467 w 632"/>
                <a:gd name="T109" fmla="*/ 902 h 904"/>
                <a:gd name="T110" fmla="*/ 474 w 632"/>
                <a:gd name="T111" fmla="*/ 899 h 904"/>
                <a:gd name="T112" fmla="*/ 606 w 632"/>
                <a:gd name="T113" fmla="*/ 899 h 904"/>
                <a:gd name="T114" fmla="*/ 614 w 632"/>
                <a:gd name="T115" fmla="*/ 904 h 904"/>
                <a:gd name="T116" fmla="*/ 622 w 632"/>
                <a:gd name="T117" fmla="*/ 902 h 904"/>
                <a:gd name="T118" fmla="*/ 631 w 632"/>
                <a:gd name="T119" fmla="*/ 893 h 904"/>
                <a:gd name="T120" fmla="*/ 631 w 632"/>
                <a:gd name="T121" fmla="*/ 12 h 904"/>
                <a:gd name="T122" fmla="*/ 622 w 632"/>
                <a:gd name="T123" fmla="*/ 3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904">
                  <a:moveTo>
                    <a:pt x="602" y="851"/>
                  </a:moveTo>
                  <a:lnTo>
                    <a:pt x="553" y="802"/>
                  </a:lnTo>
                  <a:lnTo>
                    <a:pt x="550" y="800"/>
                  </a:lnTo>
                  <a:lnTo>
                    <a:pt x="547" y="798"/>
                  </a:lnTo>
                  <a:lnTo>
                    <a:pt x="544" y="797"/>
                  </a:lnTo>
                  <a:lnTo>
                    <a:pt x="542" y="796"/>
                  </a:lnTo>
                  <a:lnTo>
                    <a:pt x="539" y="797"/>
                  </a:lnTo>
                  <a:lnTo>
                    <a:pt x="535" y="797"/>
                  </a:lnTo>
                  <a:lnTo>
                    <a:pt x="533" y="800"/>
                  </a:lnTo>
                  <a:lnTo>
                    <a:pt x="531" y="802"/>
                  </a:lnTo>
                  <a:lnTo>
                    <a:pt x="467" y="866"/>
                  </a:lnTo>
                  <a:lnTo>
                    <a:pt x="401" y="802"/>
                  </a:lnTo>
                  <a:lnTo>
                    <a:pt x="399" y="800"/>
                  </a:lnTo>
                  <a:lnTo>
                    <a:pt x="397" y="797"/>
                  </a:lnTo>
                  <a:lnTo>
                    <a:pt x="394" y="797"/>
                  </a:lnTo>
                  <a:lnTo>
                    <a:pt x="391" y="796"/>
                  </a:lnTo>
                  <a:lnTo>
                    <a:pt x="389" y="797"/>
                  </a:lnTo>
                  <a:lnTo>
                    <a:pt x="385" y="797"/>
                  </a:lnTo>
                  <a:lnTo>
                    <a:pt x="383" y="800"/>
                  </a:lnTo>
                  <a:lnTo>
                    <a:pt x="381" y="802"/>
                  </a:lnTo>
                  <a:lnTo>
                    <a:pt x="316" y="866"/>
                  </a:lnTo>
                  <a:lnTo>
                    <a:pt x="251" y="802"/>
                  </a:lnTo>
                  <a:lnTo>
                    <a:pt x="249" y="800"/>
                  </a:lnTo>
                  <a:lnTo>
                    <a:pt x="247" y="798"/>
                  </a:lnTo>
                  <a:lnTo>
                    <a:pt x="244" y="797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37" y="797"/>
                  </a:lnTo>
                  <a:lnTo>
                    <a:pt x="235" y="798"/>
                  </a:lnTo>
                  <a:lnTo>
                    <a:pt x="232" y="800"/>
                  </a:lnTo>
                  <a:lnTo>
                    <a:pt x="230" y="802"/>
                  </a:lnTo>
                  <a:lnTo>
                    <a:pt x="167" y="867"/>
                  </a:lnTo>
                  <a:lnTo>
                    <a:pt x="101" y="802"/>
                  </a:lnTo>
                  <a:lnTo>
                    <a:pt x="99" y="800"/>
                  </a:lnTo>
                  <a:lnTo>
                    <a:pt x="96" y="798"/>
                  </a:lnTo>
                  <a:lnTo>
                    <a:pt x="94" y="797"/>
                  </a:lnTo>
                  <a:lnTo>
                    <a:pt x="90" y="796"/>
                  </a:lnTo>
                  <a:lnTo>
                    <a:pt x="87" y="797"/>
                  </a:lnTo>
                  <a:lnTo>
                    <a:pt x="84" y="798"/>
                  </a:lnTo>
                  <a:lnTo>
                    <a:pt x="82" y="800"/>
                  </a:lnTo>
                  <a:lnTo>
                    <a:pt x="80" y="802"/>
                  </a:lnTo>
                  <a:lnTo>
                    <a:pt x="30" y="851"/>
                  </a:lnTo>
                  <a:lnTo>
                    <a:pt x="30" y="52"/>
                  </a:lnTo>
                  <a:lnTo>
                    <a:pt x="80" y="101"/>
                  </a:lnTo>
                  <a:lnTo>
                    <a:pt x="82" y="103"/>
                  </a:lnTo>
                  <a:lnTo>
                    <a:pt x="85" y="105"/>
                  </a:lnTo>
                  <a:lnTo>
                    <a:pt x="88" y="105"/>
                  </a:lnTo>
                  <a:lnTo>
                    <a:pt x="90" y="106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65" y="36"/>
                  </a:lnTo>
                  <a:lnTo>
                    <a:pt x="230" y="101"/>
                  </a:lnTo>
                  <a:lnTo>
                    <a:pt x="233" y="103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41" y="106"/>
                  </a:lnTo>
                  <a:lnTo>
                    <a:pt x="244" y="105"/>
                  </a:lnTo>
                  <a:lnTo>
                    <a:pt x="247" y="105"/>
                  </a:lnTo>
                  <a:lnTo>
                    <a:pt x="249" y="103"/>
                  </a:lnTo>
                  <a:lnTo>
                    <a:pt x="251" y="101"/>
                  </a:lnTo>
                  <a:lnTo>
                    <a:pt x="316" y="36"/>
                  </a:lnTo>
                  <a:lnTo>
                    <a:pt x="381" y="101"/>
                  </a:lnTo>
                  <a:lnTo>
                    <a:pt x="383" y="103"/>
                  </a:lnTo>
                  <a:lnTo>
                    <a:pt x="385" y="105"/>
                  </a:lnTo>
                  <a:lnTo>
                    <a:pt x="389" y="105"/>
                  </a:lnTo>
                  <a:lnTo>
                    <a:pt x="391" y="106"/>
                  </a:lnTo>
                  <a:lnTo>
                    <a:pt x="394" y="105"/>
                  </a:lnTo>
                  <a:lnTo>
                    <a:pt x="397" y="105"/>
                  </a:lnTo>
                  <a:lnTo>
                    <a:pt x="399" y="103"/>
                  </a:lnTo>
                  <a:lnTo>
                    <a:pt x="401" y="101"/>
                  </a:lnTo>
                  <a:lnTo>
                    <a:pt x="467" y="36"/>
                  </a:lnTo>
                  <a:lnTo>
                    <a:pt x="531" y="101"/>
                  </a:lnTo>
                  <a:lnTo>
                    <a:pt x="533" y="103"/>
                  </a:lnTo>
                  <a:lnTo>
                    <a:pt x="535" y="105"/>
                  </a:lnTo>
                  <a:lnTo>
                    <a:pt x="539" y="105"/>
                  </a:lnTo>
                  <a:lnTo>
                    <a:pt x="542" y="106"/>
                  </a:lnTo>
                  <a:lnTo>
                    <a:pt x="544" y="105"/>
                  </a:lnTo>
                  <a:lnTo>
                    <a:pt x="547" y="105"/>
                  </a:lnTo>
                  <a:lnTo>
                    <a:pt x="549" y="103"/>
                  </a:lnTo>
                  <a:lnTo>
                    <a:pt x="551" y="101"/>
                  </a:lnTo>
                  <a:lnTo>
                    <a:pt x="602" y="52"/>
                  </a:lnTo>
                  <a:lnTo>
                    <a:pt x="602" y="851"/>
                  </a:lnTo>
                  <a:close/>
                  <a:moveTo>
                    <a:pt x="622" y="3"/>
                  </a:moveTo>
                  <a:lnTo>
                    <a:pt x="618" y="2"/>
                  </a:lnTo>
                  <a:lnTo>
                    <a:pt x="614" y="2"/>
                  </a:lnTo>
                  <a:lnTo>
                    <a:pt x="609" y="3"/>
                  </a:lnTo>
                  <a:lnTo>
                    <a:pt x="606" y="6"/>
                  </a:lnTo>
                  <a:lnTo>
                    <a:pt x="542" y="69"/>
                  </a:lnTo>
                  <a:lnTo>
                    <a:pt x="477" y="5"/>
                  </a:lnTo>
                  <a:lnTo>
                    <a:pt x="474" y="3"/>
                  </a:lnTo>
                  <a:lnTo>
                    <a:pt x="472" y="1"/>
                  </a:lnTo>
                  <a:lnTo>
                    <a:pt x="469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60" y="1"/>
                  </a:lnTo>
                  <a:lnTo>
                    <a:pt x="458" y="3"/>
                  </a:lnTo>
                  <a:lnTo>
                    <a:pt x="456" y="5"/>
                  </a:lnTo>
                  <a:lnTo>
                    <a:pt x="391" y="69"/>
                  </a:lnTo>
                  <a:lnTo>
                    <a:pt x="326" y="5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08" y="3"/>
                  </a:lnTo>
                  <a:lnTo>
                    <a:pt x="305" y="5"/>
                  </a:lnTo>
                  <a:lnTo>
                    <a:pt x="241" y="69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5" y="0"/>
                  </a:lnTo>
                  <a:lnTo>
                    <a:pt x="163" y="1"/>
                  </a:lnTo>
                  <a:lnTo>
                    <a:pt x="160" y="1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90" y="69"/>
                  </a:lnTo>
                  <a:lnTo>
                    <a:pt x="26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2"/>
                  </a:lnTo>
                  <a:lnTo>
                    <a:pt x="0" y="17"/>
                  </a:lnTo>
                  <a:lnTo>
                    <a:pt x="0" y="889"/>
                  </a:lnTo>
                  <a:lnTo>
                    <a:pt x="1" y="893"/>
                  </a:lnTo>
                  <a:lnTo>
                    <a:pt x="3" y="897"/>
                  </a:lnTo>
                  <a:lnTo>
                    <a:pt x="6" y="900"/>
                  </a:lnTo>
                  <a:lnTo>
                    <a:pt x="10" y="902"/>
                  </a:lnTo>
                  <a:lnTo>
                    <a:pt x="14" y="904"/>
                  </a:lnTo>
                  <a:lnTo>
                    <a:pt x="19" y="904"/>
                  </a:lnTo>
                  <a:lnTo>
                    <a:pt x="23" y="901"/>
                  </a:lnTo>
                  <a:lnTo>
                    <a:pt x="26" y="899"/>
                  </a:lnTo>
                  <a:lnTo>
                    <a:pt x="90" y="833"/>
                  </a:lnTo>
                  <a:lnTo>
                    <a:pt x="157" y="899"/>
                  </a:lnTo>
                  <a:lnTo>
                    <a:pt x="159" y="900"/>
                  </a:lnTo>
                  <a:lnTo>
                    <a:pt x="161" y="902"/>
                  </a:lnTo>
                  <a:lnTo>
                    <a:pt x="164" y="904"/>
                  </a:lnTo>
                  <a:lnTo>
                    <a:pt x="168" y="904"/>
                  </a:lnTo>
                  <a:lnTo>
                    <a:pt x="170" y="904"/>
                  </a:lnTo>
                  <a:lnTo>
                    <a:pt x="173" y="902"/>
                  </a:lnTo>
                  <a:lnTo>
                    <a:pt x="175" y="900"/>
                  </a:lnTo>
                  <a:lnTo>
                    <a:pt x="178" y="899"/>
                  </a:lnTo>
                  <a:lnTo>
                    <a:pt x="241" y="833"/>
                  </a:lnTo>
                  <a:lnTo>
                    <a:pt x="305" y="898"/>
                  </a:lnTo>
                  <a:lnTo>
                    <a:pt x="308" y="899"/>
                  </a:lnTo>
                  <a:lnTo>
                    <a:pt x="310" y="901"/>
                  </a:lnTo>
                  <a:lnTo>
                    <a:pt x="313" y="901"/>
                  </a:lnTo>
                  <a:lnTo>
                    <a:pt x="316" y="902"/>
                  </a:lnTo>
                  <a:lnTo>
                    <a:pt x="319" y="901"/>
                  </a:lnTo>
                  <a:lnTo>
                    <a:pt x="322" y="901"/>
                  </a:lnTo>
                  <a:lnTo>
                    <a:pt x="324" y="899"/>
                  </a:lnTo>
                  <a:lnTo>
                    <a:pt x="326" y="898"/>
                  </a:lnTo>
                  <a:lnTo>
                    <a:pt x="391" y="833"/>
                  </a:lnTo>
                  <a:lnTo>
                    <a:pt x="456" y="898"/>
                  </a:lnTo>
                  <a:lnTo>
                    <a:pt x="458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7" y="902"/>
                  </a:lnTo>
                  <a:lnTo>
                    <a:pt x="469" y="901"/>
                  </a:lnTo>
                  <a:lnTo>
                    <a:pt x="472" y="901"/>
                  </a:lnTo>
                  <a:lnTo>
                    <a:pt x="474" y="899"/>
                  </a:lnTo>
                  <a:lnTo>
                    <a:pt x="477" y="898"/>
                  </a:lnTo>
                  <a:lnTo>
                    <a:pt x="542" y="833"/>
                  </a:lnTo>
                  <a:lnTo>
                    <a:pt x="606" y="899"/>
                  </a:lnTo>
                  <a:lnTo>
                    <a:pt x="608" y="900"/>
                  </a:lnTo>
                  <a:lnTo>
                    <a:pt x="610" y="902"/>
                  </a:lnTo>
                  <a:lnTo>
                    <a:pt x="614" y="904"/>
                  </a:lnTo>
                  <a:lnTo>
                    <a:pt x="617" y="904"/>
                  </a:lnTo>
                  <a:lnTo>
                    <a:pt x="620" y="904"/>
                  </a:lnTo>
                  <a:lnTo>
                    <a:pt x="622" y="902"/>
                  </a:lnTo>
                  <a:lnTo>
                    <a:pt x="627" y="900"/>
                  </a:lnTo>
                  <a:lnTo>
                    <a:pt x="629" y="897"/>
                  </a:lnTo>
                  <a:lnTo>
                    <a:pt x="631" y="893"/>
                  </a:lnTo>
                  <a:lnTo>
                    <a:pt x="632" y="889"/>
                  </a:lnTo>
                  <a:lnTo>
                    <a:pt x="632" y="17"/>
                  </a:lnTo>
                  <a:lnTo>
                    <a:pt x="631" y="12"/>
                  </a:lnTo>
                  <a:lnTo>
                    <a:pt x="629" y="8"/>
                  </a:lnTo>
                  <a:lnTo>
                    <a:pt x="627" y="5"/>
                  </a:lnTo>
                  <a:lnTo>
                    <a:pt x="6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10"/>
            <p:cNvSpPr/>
            <p:nvPr/>
          </p:nvSpPr>
          <p:spPr bwMode="auto">
            <a:xfrm>
              <a:off x="11672888" y="1991995"/>
              <a:ext cx="106363" cy="9525"/>
            </a:xfrm>
            <a:custGeom>
              <a:avLst/>
              <a:gdLst>
                <a:gd name="T0" fmla="*/ 333 w 333"/>
                <a:gd name="T1" fmla="*/ 15 h 30"/>
                <a:gd name="T2" fmla="*/ 333 w 333"/>
                <a:gd name="T3" fmla="*/ 12 h 30"/>
                <a:gd name="T4" fmla="*/ 332 w 333"/>
                <a:gd name="T5" fmla="*/ 8 h 30"/>
                <a:gd name="T6" fmla="*/ 331 w 333"/>
                <a:gd name="T7" fmla="*/ 6 h 30"/>
                <a:gd name="T8" fmla="*/ 329 w 333"/>
                <a:gd name="T9" fmla="*/ 4 h 30"/>
                <a:gd name="T10" fmla="*/ 327 w 333"/>
                <a:gd name="T11" fmla="*/ 2 h 30"/>
                <a:gd name="T12" fmla="*/ 324 w 333"/>
                <a:gd name="T13" fmla="*/ 1 h 30"/>
                <a:gd name="T14" fmla="*/ 322 w 333"/>
                <a:gd name="T15" fmla="*/ 0 h 30"/>
                <a:gd name="T16" fmla="*/ 318 w 333"/>
                <a:gd name="T17" fmla="*/ 0 h 30"/>
                <a:gd name="T18" fmla="*/ 15 w 333"/>
                <a:gd name="T19" fmla="*/ 0 h 30"/>
                <a:gd name="T20" fmla="*/ 12 w 333"/>
                <a:gd name="T21" fmla="*/ 0 h 30"/>
                <a:gd name="T22" fmla="*/ 10 w 333"/>
                <a:gd name="T23" fmla="*/ 1 h 30"/>
                <a:gd name="T24" fmla="*/ 6 w 333"/>
                <a:gd name="T25" fmla="*/ 2 h 30"/>
                <a:gd name="T26" fmla="*/ 4 w 333"/>
                <a:gd name="T27" fmla="*/ 4 h 30"/>
                <a:gd name="T28" fmla="*/ 2 w 333"/>
                <a:gd name="T29" fmla="*/ 6 h 30"/>
                <a:gd name="T30" fmla="*/ 1 w 333"/>
                <a:gd name="T31" fmla="*/ 8 h 30"/>
                <a:gd name="T32" fmla="*/ 0 w 333"/>
                <a:gd name="T33" fmla="*/ 12 h 30"/>
                <a:gd name="T34" fmla="*/ 0 w 333"/>
                <a:gd name="T35" fmla="*/ 15 h 30"/>
                <a:gd name="T36" fmla="*/ 0 w 333"/>
                <a:gd name="T37" fmla="*/ 18 h 30"/>
                <a:gd name="T38" fmla="*/ 1 w 333"/>
                <a:gd name="T39" fmla="*/ 20 h 30"/>
                <a:gd name="T40" fmla="*/ 2 w 333"/>
                <a:gd name="T41" fmla="*/ 23 h 30"/>
                <a:gd name="T42" fmla="*/ 4 w 333"/>
                <a:gd name="T43" fmla="*/ 26 h 30"/>
                <a:gd name="T44" fmla="*/ 6 w 333"/>
                <a:gd name="T45" fmla="*/ 27 h 30"/>
                <a:gd name="T46" fmla="*/ 10 w 333"/>
                <a:gd name="T47" fmla="*/ 29 h 30"/>
                <a:gd name="T48" fmla="*/ 12 w 333"/>
                <a:gd name="T49" fmla="*/ 29 h 30"/>
                <a:gd name="T50" fmla="*/ 15 w 333"/>
                <a:gd name="T51" fmla="*/ 30 h 30"/>
                <a:gd name="T52" fmla="*/ 318 w 333"/>
                <a:gd name="T53" fmla="*/ 30 h 30"/>
                <a:gd name="T54" fmla="*/ 322 w 333"/>
                <a:gd name="T55" fmla="*/ 29 h 30"/>
                <a:gd name="T56" fmla="*/ 324 w 333"/>
                <a:gd name="T57" fmla="*/ 29 h 30"/>
                <a:gd name="T58" fmla="*/ 327 w 333"/>
                <a:gd name="T59" fmla="*/ 27 h 30"/>
                <a:gd name="T60" fmla="*/ 329 w 333"/>
                <a:gd name="T61" fmla="*/ 26 h 30"/>
                <a:gd name="T62" fmla="*/ 331 w 333"/>
                <a:gd name="T63" fmla="*/ 23 h 30"/>
                <a:gd name="T64" fmla="*/ 332 w 333"/>
                <a:gd name="T65" fmla="*/ 20 h 30"/>
                <a:gd name="T66" fmla="*/ 333 w 333"/>
                <a:gd name="T67" fmla="*/ 18 h 30"/>
                <a:gd name="T68" fmla="*/ 333 w 333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3" h="30">
                  <a:moveTo>
                    <a:pt x="333" y="15"/>
                  </a:moveTo>
                  <a:lnTo>
                    <a:pt x="333" y="12"/>
                  </a:lnTo>
                  <a:lnTo>
                    <a:pt x="332" y="8"/>
                  </a:lnTo>
                  <a:lnTo>
                    <a:pt x="331" y="6"/>
                  </a:lnTo>
                  <a:lnTo>
                    <a:pt x="329" y="4"/>
                  </a:lnTo>
                  <a:lnTo>
                    <a:pt x="327" y="2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18" y="30"/>
                  </a:lnTo>
                  <a:lnTo>
                    <a:pt x="322" y="29"/>
                  </a:lnTo>
                  <a:lnTo>
                    <a:pt x="324" y="29"/>
                  </a:lnTo>
                  <a:lnTo>
                    <a:pt x="327" y="27"/>
                  </a:lnTo>
                  <a:lnTo>
                    <a:pt x="329" y="26"/>
                  </a:lnTo>
                  <a:lnTo>
                    <a:pt x="331" y="23"/>
                  </a:lnTo>
                  <a:lnTo>
                    <a:pt x="332" y="20"/>
                  </a:lnTo>
                  <a:lnTo>
                    <a:pt x="333" y="18"/>
                  </a:lnTo>
                  <a:lnTo>
                    <a:pt x="33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11"/>
            <p:cNvSpPr/>
            <p:nvPr/>
          </p:nvSpPr>
          <p:spPr bwMode="auto">
            <a:xfrm>
              <a:off x="11672888" y="20300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9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0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9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212"/>
            <p:cNvSpPr/>
            <p:nvPr/>
          </p:nvSpPr>
          <p:spPr bwMode="auto">
            <a:xfrm>
              <a:off x="11672888" y="20681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10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1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10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10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13"/>
            <p:cNvSpPr/>
            <p:nvPr/>
          </p:nvSpPr>
          <p:spPr bwMode="auto">
            <a:xfrm>
              <a:off x="11672888" y="2106295"/>
              <a:ext cx="46038" cy="9525"/>
            </a:xfrm>
            <a:custGeom>
              <a:avLst/>
              <a:gdLst>
                <a:gd name="T0" fmla="*/ 129 w 144"/>
                <a:gd name="T1" fmla="*/ 0 h 30"/>
                <a:gd name="T2" fmla="*/ 15 w 144"/>
                <a:gd name="T3" fmla="*/ 0 h 30"/>
                <a:gd name="T4" fmla="*/ 12 w 144"/>
                <a:gd name="T5" fmla="*/ 0 h 30"/>
                <a:gd name="T6" fmla="*/ 10 w 144"/>
                <a:gd name="T7" fmla="*/ 1 h 30"/>
                <a:gd name="T8" fmla="*/ 6 w 144"/>
                <a:gd name="T9" fmla="*/ 3 h 30"/>
                <a:gd name="T10" fmla="*/ 4 w 144"/>
                <a:gd name="T11" fmla="*/ 4 h 30"/>
                <a:gd name="T12" fmla="*/ 2 w 144"/>
                <a:gd name="T13" fmla="*/ 7 h 30"/>
                <a:gd name="T14" fmla="*/ 1 w 144"/>
                <a:gd name="T15" fmla="*/ 10 h 30"/>
                <a:gd name="T16" fmla="*/ 0 w 144"/>
                <a:gd name="T17" fmla="*/ 12 h 30"/>
                <a:gd name="T18" fmla="*/ 0 w 144"/>
                <a:gd name="T19" fmla="*/ 15 h 30"/>
                <a:gd name="T20" fmla="*/ 0 w 144"/>
                <a:gd name="T21" fmla="*/ 18 h 30"/>
                <a:gd name="T22" fmla="*/ 1 w 144"/>
                <a:gd name="T23" fmla="*/ 22 h 30"/>
                <a:gd name="T24" fmla="*/ 2 w 144"/>
                <a:gd name="T25" fmla="*/ 24 h 30"/>
                <a:gd name="T26" fmla="*/ 4 w 144"/>
                <a:gd name="T27" fmla="*/ 26 h 30"/>
                <a:gd name="T28" fmla="*/ 6 w 144"/>
                <a:gd name="T29" fmla="*/ 28 h 30"/>
                <a:gd name="T30" fmla="*/ 10 w 144"/>
                <a:gd name="T31" fmla="*/ 29 h 30"/>
                <a:gd name="T32" fmla="*/ 12 w 144"/>
                <a:gd name="T33" fmla="*/ 30 h 30"/>
                <a:gd name="T34" fmla="*/ 15 w 144"/>
                <a:gd name="T35" fmla="*/ 30 h 30"/>
                <a:gd name="T36" fmla="*/ 129 w 144"/>
                <a:gd name="T37" fmla="*/ 30 h 30"/>
                <a:gd name="T38" fmla="*/ 132 w 144"/>
                <a:gd name="T39" fmla="*/ 30 h 30"/>
                <a:gd name="T40" fmla="*/ 135 w 144"/>
                <a:gd name="T41" fmla="*/ 29 h 30"/>
                <a:gd name="T42" fmla="*/ 137 w 144"/>
                <a:gd name="T43" fmla="*/ 28 h 30"/>
                <a:gd name="T44" fmla="*/ 139 w 144"/>
                <a:gd name="T45" fmla="*/ 26 h 30"/>
                <a:gd name="T46" fmla="*/ 142 w 144"/>
                <a:gd name="T47" fmla="*/ 24 h 30"/>
                <a:gd name="T48" fmla="*/ 143 w 144"/>
                <a:gd name="T49" fmla="*/ 22 h 30"/>
                <a:gd name="T50" fmla="*/ 144 w 144"/>
                <a:gd name="T51" fmla="*/ 18 h 30"/>
                <a:gd name="T52" fmla="*/ 144 w 144"/>
                <a:gd name="T53" fmla="*/ 15 h 30"/>
                <a:gd name="T54" fmla="*/ 144 w 144"/>
                <a:gd name="T55" fmla="*/ 12 h 30"/>
                <a:gd name="T56" fmla="*/ 143 w 144"/>
                <a:gd name="T57" fmla="*/ 10 h 30"/>
                <a:gd name="T58" fmla="*/ 142 w 144"/>
                <a:gd name="T59" fmla="*/ 7 h 30"/>
                <a:gd name="T60" fmla="*/ 139 w 144"/>
                <a:gd name="T61" fmla="*/ 4 h 30"/>
                <a:gd name="T62" fmla="*/ 137 w 144"/>
                <a:gd name="T63" fmla="*/ 3 h 30"/>
                <a:gd name="T64" fmla="*/ 135 w 144"/>
                <a:gd name="T65" fmla="*/ 1 h 30"/>
                <a:gd name="T66" fmla="*/ 132 w 144"/>
                <a:gd name="T67" fmla="*/ 0 h 30"/>
                <a:gd name="T68" fmla="*/ 129 w 144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0">
                  <a:moveTo>
                    <a:pt x="129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7" y="28"/>
                  </a:lnTo>
                  <a:lnTo>
                    <a:pt x="139" y="26"/>
                  </a:lnTo>
                  <a:lnTo>
                    <a:pt x="142" y="24"/>
                  </a:lnTo>
                  <a:lnTo>
                    <a:pt x="143" y="22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2"/>
                  </a:lnTo>
                  <a:lnTo>
                    <a:pt x="143" y="10"/>
                  </a:lnTo>
                  <a:lnTo>
                    <a:pt x="142" y="7"/>
                  </a:lnTo>
                  <a:lnTo>
                    <a:pt x="139" y="4"/>
                  </a:lnTo>
                  <a:lnTo>
                    <a:pt x="137" y="3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14"/>
            <p:cNvSpPr/>
            <p:nvPr/>
          </p:nvSpPr>
          <p:spPr bwMode="auto">
            <a:xfrm>
              <a:off x="11758613" y="2044383"/>
              <a:ext cx="44450" cy="109538"/>
            </a:xfrm>
            <a:custGeom>
              <a:avLst/>
              <a:gdLst>
                <a:gd name="T0" fmla="*/ 88 w 144"/>
                <a:gd name="T1" fmla="*/ 76 h 345"/>
                <a:gd name="T2" fmla="*/ 106 w 144"/>
                <a:gd name="T3" fmla="*/ 91 h 345"/>
                <a:gd name="T4" fmla="*/ 114 w 144"/>
                <a:gd name="T5" fmla="*/ 115 h 345"/>
                <a:gd name="T6" fmla="*/ 116 w 144"/>
                <a:gd name="T7" fmla="*/ 122 h 345"/>
                <a:gd name="T8" fmla="*/ 122 w 144"/>
                <a:gd name="T9" fmla="*/ 129 h 345"/>
                <a:gd name="T10" fmla="*/ 131 w 144"/>
                <a:gd name="T11" fmla="*/ 129 h 345"/>
                <a:gd name="T12" fmla="*/ 138 w 144"/>
                <a:gd name="T13" fmla="*/ 125 h 345"/>
                <a:gd name="T14" fmla="*/ 143 w 144"/>
                <a:gd name="T15" fmla="*/ 117 h 345"/>
                <a:gd name="T16" fmla="*/ 143 w 144"/>
                <a:gd name="T17" fmla="*/ 102 h 345"/>
                <a:gd name="T18" fmla="*/ 134 w 144"/>
                <a:gd name="T19" fmla="*/ 78 h 345"/>
                <a:gd name="T20" fmla="*/ 109 w 144"/>
                <a:gd name="T21" fmla="*/ 54 h 345"/>
                <a:gd name="T22" fmla="*/ 87 w 144"/>
                <a:gd name="T23" fmla="*/ 15 h 345"/>
                <a:gd name="T24" fmla="*/ 84 w 144"/>
                <a:gd name="T25" fmla="*/ 6 h 345"/>
                <a:gd name="T26" fmla="*/ 77 w 144"/>
                <a:gd name="T27" fmla="*/ 1 h 345"/>
                <a:gd name="T28" fmla="*/ 69 w 144"/>
                <a:gd name="T29" fmla="*/ 0 h 345"/>
                <a:gd name="T30" fmla="*/ 61 w 144"/>
                <a:gd name="T31" fmla="*/ 4 h 345"/>
                <a:gd name="T32" fmla="*/ 57 w 144"/>
                <a:gd name="T33" fmla="*/ 12 h 345"/>
                <a:gd name="T34" fmla="*/ 45 w 144"/>
                <a:gd name="T35" fmla="*/ 47 h 345"/>
                <a:gd name="T36" fmla="*/ 16 w 144"/>
                <a:gd name="T37" fmla="*/ 69 h 345"/>
                <a:gd name="T38" fmla="*/ 2 w 144"/>
                <a:gd name="T39" fmla="*/ 95 h 345"/>
                <a:gd name="T40" fmla="*/ 0 w 144"/>
                <a:gd name="T41" fmla="*/ 115 h 345"/>
                <a:gd name="T42" fmla="*/ 3 w 144"/>
                <a:gd name="T43" fmla="*/ 136 h 345"/>
                <a:gd name="T44" fmla="*/ 12 w 144"/>
                <a:gd name="T45" fmla="*/ 154 h 345"/>
                <a:gd name="T46" fmla="*/ 26 w 144"/>
                <a:gd name="T47" fmla="*/ 169 h 345"/>
                <a:gd name="T48" fmla="*/ 43 w 144"/>
                <a:gd name="T49" fmla="*/ 180 h 345"/>
                <a:gd name="T50" fmla="*/ 64 w 144"/>
                <a:gd name="T51" fmla="*/ 185 h 345"/>
                <a:gd name="T52" fmla="*/ 88 w 144"/>
                <a:gd name="T53" fmla="*/ 190 h 345"/>
                <a:gd name="T54" fmla="*/ 106 w 144"/>
                <a:gd name="T55" fmla="*/ 205 h 345"/>
                <a:gd name="T56" fmla="*/ 114 w 144"/>
                <a:gd name="T57" fmla="*/ 228 h 345"/>
                <a:gd name="T58" fmla="*/ 106 w 144"/>
                <a:gd name="T59" fmla="*/ 251 h 345"/>
                <a:gd name="T60" fmla="*/ 88 w 144"/>
                <a:gd name="T61" fmla="*/ 267 h 345"/>
                <a:gd name="T62" fmla="*/ 63 w 144"/>
                <a:gd name="T63" fmla="*/ 269 h 345"/>
                <a:gd name="T64" fmla="*/ 42 w 144"/>
                <a:gd name="T65" fmla="*/ 257 h 345"/>
                <a:gd name="T66" fmla="*/ 30 w 144"/>
                <a:gd name="T67" fmla="*/ 236 h 345"/>
                <a:gd name="T68" fmla="*/ 28 w 144"/>
                <a:gd name="T69" fmla="*/ 222 h 345"/>
                <a:gd name="T70" fmla="*/ 22 w 144"/>
                <a:gd name="T71" fmla="*/ 216 h 345"/>
                <a:gd name="T72" fmla="*/ 15 w 144"/>
                <a:gd name="T73" fmla="*/ 213 h 345"/>
                <a:gd name="T74" fmla="*/ 6 w 144"/>
                <a:gd name="T75" fmla="*/ 216 h 345"/>
                <a:gd name="T76" fmla="*/ 1 w 144"/>
                <a:gd name="T77" fmla="*/ 222 h 345"/>
                <a:gd name="T78" fmla="*/ 0 w 144"/>
                <a:gd name="T79" fmla="*/ 235 h 345"/>
                <a:gd name="T80" fmla="*/ 4 w 144"/>
                <a:gd name="T81" fmla="*/ 253 h 345"/>
                <a:gd name="T82" fmla="*/ 24 w 144"/>
                <a:gd name="T83" fmla="*/ 282 h 345"/>
                <a:gd name="T84" fmla="*/ 57 w 144"/>
                <a:gd name="T85" fmla="*/ 298 h 345"/>
                <a:gd name="T86" fmla="*/ 58 w 144"/>
                <a:gd name="T87" fmla="*/ 337 h 345"/>
                <a:gd name="T88" fmla="*/ 63 w 144"/>
                <a:gd name="T89" fmla="*/ 343 h 345"/>
                <a:gd name="T90" fmla="*/ 72 w 144"/>
                <a:gd name="T91" fmla="*/ 345 h 345"/>
                <a:gd name="T92" fmla="*/ 79 w 144"/>
                <a:gd name="T93" fmla="*/ 343 h 345"/>
                <a:gd name="T94" fmla="*/ 85 w 144"/>
                <a:gd name="T95" fmla="*/ 337 h 345"/>
                <a:gd name="T96" fmla="*/ 87 w 144"/>
                <a:gd name="T97" fmla="*/ 298 h 345"/>
                <a:gd name="T98" fmla="*/ 119 w 144"/>
                <a:gd name="T99" fmla="*/ 282 h 345"/>
                <a:gd name="T100" fmla="*/ 139 w 144"/>
                <a:gd name="T101" fmla="*/ 253 h 345"/>
                <a:gd name="T102" fmla="*/ 143 w 144"/>
                <a:gd name="T103" fmla="*/ 235 h 345"/>
                <a:gd name="T104" fmla="*/ 141 w 144"/>
                <a:gd name="T105" fmla="*/ 213 h 345"/>
                <a:gd name="T106" fmla="*/ 134 w 144"/>
                <a:gd name="T107" fmla="*/ 194 h 345"/>
                <a:gd name="T108" fmla="*/ 122 w 144"/>
                <a:gd name="T109" fmla="*/ 177 h 345"/>
                <a:gd name="T110" fmla="*/ 106 w 144"/>
                <a:gd name="T111" fmla="*/ 165 h 345"/>
                <a:gd name="T112" fmla="*/ 86 w 144"/>
                <a:gd name="T113" fmla="*/ 158 h 345"/>
                <a:gd name="T114" fmla="*/ 63 w 144"/>
                <a:gd name="T115" fmla="*/ 155 h 345"/>
                <a:gd name="T116" fmla="*/ 42 w 144"/>
                <a:gd name="T117" fmla="*/ 144 h 345"/>
                <a:gd name="T118" fmla="*/ 30 w 144"/>
                <a:gd name="T119" fmla="*/ 122 h 345"/>
                <a:gd name="T120" fmla="*/ 33 w 144"/>
                <a:gd name="T121" fmla="*/ 98 h 345"/>
                <a:gd name="T122" fmla="*/ 48 w 144"/>
                <a:gd name="T123" fmla="*/ 79 h 345"/>
                <a:gd name="T124" fmla="*/ 72 w 144"/>
                <a:gd name="T125" fmla="*/ 72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345">
                  <a:moveTo>
                    <a:pt x="72" y="72"/>
                  </a:moveTo>
                  <a:lnTo>
                    <a:pt x="79" y="73"/>
                  </a:lnTo>
                  <a:lnTo>
                    <a:pt x="88" y="76"/>
                  </a:lnTo>
                  <a:lnTo>
                    <a:pt x="94" y="79"/>
                  </a:lnTo>
                  <a:lnTo>
                    <a:pt x="101" y="85"/>
                  </a:lnTo>
                  <a:lnTo>
                    <a:pt x="106" y="91"/>
                  </a:lnTo>
                  <a:lnTo>
                    <a:pt x="109" y="98"/>
                  </a:lnTo>
                  <a:lnTo>
                    <a:pt x="113" y="106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5" y="120"/>
                  </a:lnTo>
                  <a:lnTo>
                    <a:pt x="116" y="122"/>
                  </a:lnTo>
                  <a:lnTo>
                    <a:pt x="118" y="125"/>
                  </a:lnTo>
                  <a:lnTo>
                    <a:pt x="120" y="126"/>
                  </a:lnTo>
                  <a:lnTo>
                    <a:pt x="122" y="129"/>
                  </a:lnTo>
                  <a:lnTo>
                    <a:pt x="125" y="129"/>
                  </a:lnTo>
                  <a:lnTo>
                    <a:pt x="129" y="130"/>
                  </a:lnTo>
                  <a:lnTo>
                    <a:pt x="131" y="129"/>
                  </a:lnTo>
                  <a:lnTo>
                    <a:pt x="134" y="129"/>
                  </a:lnTo>
                  <a:lnTo>
                    <a:pt x="136" y="126"/>
                  </a:lnTo>
                  <a:lnTo>
                    <a:pt x="138" y="125"/>
                  </a:lnTo>
                  <a:lnTo>
                    <a:pt x="140" y="122"/>
                  </a:lnTo>
                  <a:lnTo>
                    <a:pt x="141" y="120"/>
                  </a:lnTo>
                  <a:lnTo>
                    <a:pt x="143" y="117"/>
                  </a:lnTo>
                  <a:lnTo>
                    <a:pt x="144" y="115"/>
                  </a:lnTo>
                  <a:lnTo>
                    <a:pt x="143" y="108"/>
                  </a:lnTo>
                  <a:lnTo>
                    <a:pt x="143" y="102"/>
                  </a:lnTo>
                  <a:lnTo>
                    <a:pt x="140" y="95"/>
                  </a:lnTo>
                  <a:lnTo>
                    <a:pt x="139" y="90"/>
                  </a:lnTo>
                  <a:lnTo>
                    <a:pt x="134" y="78"/>
                  </a:lnTo>
                  <a:lnTo>
                    <a:pt x="126" y="69"/>
                  </a:lnTo>
                  <a:lnTo>
                    <a:pt x="119" y="60"/>
                  </a:lnTo>
                  <a:lnTo>
                    <a:pt x="109" y="54"/>
                  </a:lnTo>
                  <a:lnTo>
                    <a:pt x="99" y="47"/>
                  </a:lnTo>
                  <a:lnTo>
                    <a:pt x="87" y="44"/>
                  </a:lnTo>
                  <a:lnTo>
                    <a:pt x="87" y="15"/>
                  </a:lnTo>
                  <a:lnTo>
                    <a:pt x="86" y="12"/>
                  </a:lnTo>
                  <a:lnTo>
                    <a:pt x="85" y="9"/>
                  </a:lnTo>
                  <a:lnTo>
                    <a:pt x="84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1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5" y="1"/>
                  </a:lnTo>
                  <a:lnTo>
                    <a:pt x="63" y="2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8" y="10"/>
                  </a:lnTo>
                  <a:lnTo>
                    <a:pt x="57" y="12"/>
                  </a:lnTo>
                  <a:lnTo>
                    <a:pt x="57" y="15"/>
                  </a:lnTo>
                  <a:lnTo>
                    <a:pt x="57" y="44"/>
                  </a:lnTo>
                  <a:lnTo>
                    <a:pt x="45" y="47"/>
                  </a:lnTo>
                  <a:lnTo>
                    <a:pt x="33" y="53"/>
                  </a:lnTo>
                  <a:lnTo>
                    <a:pt x="24" y="60"/>
                  </a:lnTo>
                  <a:lnTo>
                    <a:pt x="16" y="69"/>
                  </a:lnTo>
                  <a:lnTo>
                    <a:pt x="9" y="78"/>
                  </a:lnTo>
                  <a:lnTo>
                    <a:pt x="4" y="90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3" y="136"/>
                  </a:lnTo>
                  <a:lnTo>
                    <a:pt x="5" y="143"/>
                  </a:lnTo>
                  <a:lnTo>
                    <a:pt x="9" y="149"/>
                  </a:lnTo>
                  <a:lnTo>
                    <a:pt x="12" y="154"/>
                  </a:lnTo>
                  <a:lnTo>
                    <a:pt x="16" y="160"/>
                  </a:lnTo>
                  <a:lnTo>
                    <a:pt x="20" y="165"/>
                  </a:lnTo>
                  <a:lnTo>
                    <a:pt x="26" y="169"/>
                  </a:lnTo>
                  <a:lnTo>
                    <a:pt x="31" y="174"/>
                  </a:lnTo>
                  <a:lnTo>
                    <a:pt x="37" y="178"/>
                  </a:lnTo>
                  <a:lnTo>
                    <a:pt x="43" y="180"/>
                  </a:lnTo>
                  <a:lnTo>
                    <a:pt x="50" y="183"/>
                  </a:lnTo>
                  <a:lnTo>
                    <a:pt x="57" y="184"/>
                  </a:lnTo>
                  <a:lnTo>
                    <a:pt x="64" y="185"/>
                  </a:lnTo>
                  <a:lnTo>
                    <a:pt x="72" y="187"/>
                  </a:lnTo>
                  <a:lnTo>
                    <a:pt x="79" y="187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101" y="198"/>
                  </a:lnTo>
                  <a:lnTo>
                    <a:pt x="106" y="205"/>
                  </a:lnTo>
                  <a:lnTo>
                    <a:pt x="109" y="211"/>
                  </a:lnTo>
                  <a:lnTo>
                    <a:pt x="113" y="220"/>
                  </a:lnTo>
                  <a:lnTo>
                    <a:pt x="114" y="228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6" y="251"/>
                  </a:lnTo>
                  <a:lnTo>
                    <a:pt x="101" y="257"/>
                  </a:lnTo>
                  <a:lnTo>
                    <a:pt x="94" y="263"/>
                  </a:lnTo>
                  <a:lnTo>
                    <a:pt x="88" y="267"/>
                  </a:lnTo>
                  <a:lnTo>
                    <a:pt x="79" y="269"/>
                  </a:lnTo>
                  <a:lnTo>
                    <a:pt x="72" y="270"/>
                  </a:lnTo>
                  <a:lnTo>
                    <a:pt x="63" y="269"/>
                  </a:lnTo>
                  <a:lnTo>
                    <a:pt x="55" y="267"/>
                  </a:lnTo>
                  <a:lnTo>
                    <a:pt x="48" y="263"/>
                  </a:lnTo>
                  <a:lnTo>
                    <a:pt x="42" y="257"/>
                  </a:lnTo>
                  <a:lnTo>
                    <a:pt x="36" y="251"/>
                  </a:lnTo>
                  <a:lnTo>
                    <a:pt x="33" y="244"/>
                  </a:lnTo>
                  <a:lnTo>
                    <a:pt x="30" y="236"/>
                  </a:lnTo>
                  <a:lnTo>
                    <a:pt x="30" y="228"/>
                  </a:lnTo>
                  <a:lnTo>
                    <a:pt x="29" y="225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5" y="218"/>
                  </a:lnTo>
                  <a:lnTo>
                    <a:pt x="22" y="216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5" y="213"/>
                  </a:lnTo>
                  <a:lnTo>
                    <a:pt x="12" y="213"/>
                  </a:lnTo>
                  <a:lnTo>
                    <a:pt x="9" y="214"/>
                  </a:lnTo>
                  <a:lnTo>
                    <a:pt x="6" y="216"/>
                  </a:lnTo>
                  <a:lnTo>
                    <a:pt x="4" y="218"/>
                  </a:lnTo>
                  <a:lnTo>
                    <a:pt x="2" y="220"/>
                  </a:lnTo>
                  <a:lnTo>
                    <a:pt x="1" y="222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5"/>
                  </a:lnTo>
                  <a:lnTo>
                    <a:pt x="1" y="240"/>
                  </a:lnTo>
                  <a:lnTo>
                    <a:pt x="2" y="247"/>
                  </a:lnTo>
                  <a:lnTo>
                    <a:pt x="4" y="253"/>
                  </a:lnTo>
                  <a:lnTo>
                    <a:pt x="9" y="264"/>
                  </a:lnTo>
                  <a:lnTo>
                    <a:pt x="16" y="273"/>
                  </a:lnTo>
                  <a:lnTo>
                    <a:pt x="24" y="282"/>
                  </a:lnTo>
                  <a:lnTo>
                    <a:pt x="33" y="289"/>
                  </a:lnTo>
                  <a:lnTo>
                    <a:pt x="45" y="295"/>
                  </a:lnTo>
                  <a:lnTo>
                    <a:pt x="57" y="298"/>
                  </a:lnTo>
                  <a:lnTo>
                    <a:pt x="57" y="330"/>
                  </a:lnTo>
                  <a:lnTo>
                    <a:pt x="57" y="333"/>
                  </a:lnTo>
                  <a:lnTo>
                    <a:pt x="58" y="337"/>
                  </a:lnTo>
                  <a:lnTo>
                    <a:pt x="59" y="339"/>
                  </a:lnTo>
                  <a:lnTo>
                    <a:pt x="61" y="341"/>
                  </a:lnTo>
                  <a:lnTo>
                    <a:pt x="63" y="343"/>
                  </a:lnTo>
                  <a:lnTo>
                    <a:pt x="65" y="344"/>
                  </a:lnTo>
                  <a:lnTo>
                    <a:pt x="69" y="345"/>
                  </a:lnTo>
                  <a:lnTo>
                    <a:pt x="72" y="345"/>
                  </a:lnTo>
                  <a:lnTo>
                    <a:pt x="74" y="345"/>
                  </a:lnTo>
                  <a:lnTo>
                    <a:pt x="77" y="344"/>
                  </a:lnTo>
                  <a:lnTo>
                    <a:pt x="79" y="343"/>
                  </a:lnTo>
                  <a:lnTo>
                    <a:pt x="81" y="341"/>
                  </a:lnTo>
                  <a:lnTo>
                    <a:pt x="84" y="339"/>
                  </a:lnTo>
                  <a:lnTo>
                    <a:pt x="85" y="337"/>
                  </a:lnTo>
                  <a:lnTo>
                    <a:pt x="86" y="333"/>
                  </a:lnTo>
                  <a:lnTo>
                    <a:pt x="87" y="330"/>
                  </a:lnTo>
                  <a:lnTo>
                    <a:pt x="87" y="298"/>
                  </a:lnTo>
                  <a:lnTo>
                    <a:pt x="99" y="295"/>
                  </a:lnTo>
                  <a:lnTo>
                    <a:pt x="109" y="289"/>
                  </a:lnTo>
                  <a:lnTo>
                    <a:pt x="119" y="282"/>
                  </a:lnTo>
                  <a:lnTo>
                    <a:pt x="126" y="273"/>
                  </a:lnTo>
                  <a:lnTo>
                    <a:pt x="134" y="264"/>
                  </a:lnTo>
                  <a:lnTo>
                    <a:pt x="139" y="253"/>
                  </a:lnTo>
                  <a:lnTo>
                    <a:pt x="140" y="247"/>
                  </a:lnTo>
                  <a:lnTo>
                    <a:pt x="143" y="240"/>
                  </a:lnTo>
                  <a:lnTo>
                    <a:pt x="143" y="235"/>
                  </a:lnTo>
                  <a:lnTo>
                    <a:pt x="144" y="228"/>
                  </a:lnTo>
                  <a:lnTo>
                    <a:pt x="143" y="221"/>
                  </a:lnTo>
                  <a:lnTo>
                    <a:pt x="141" y="213"/>
                  </a:lnTo>
                  <a:lnTo>
                    <a:pt x="140" y="207"/>
                  </a:lnTo>
                  <a:lnTo>
                    <a:pt x="137" y="200"/>
                  </a:lnTo>
                  <a:lnTo>
                    <a:pt x="134" y="194"/>
                  </a:lnTo>
                  <a:lnTo>
                    <a:pt x="131" y="188"/>
                  </a:lnTo>
                  <a:lnTo>
                    <a:pt x="126" y="182"/>
                  </a:lnTo>
                  <a:lnTo>
                    <a:pt x="122" y="177"/>
                  </a:lnTo>
                  <a:lnTo>
                    <a:pt x="117" y="173"/>
                  </a:lnTo>
                  <a:lnTo>
                    <a:pt x="111" y="168"/>
                  </a:lnTo>
                  <a:lnTo>
                    <a:pt x="106" y="165"/>
                  </a:lnTo>
                  <a:lnTo>
                    <a:pt x="100" y="162"/>
                  </a:lnTo>
                  <a:lnTo>
                    <a:pt x="92" y="160"/>
                  </a:lnTo>
                  <a:lnTo>
                    <a:pt x="86" y="158"/>
                  </a:lnTo>
                  <a:lnTo>
                    <a:pt x="78" y="157"/>
                  </a:lnTo>
                  <a:lnTo>
                    <a:pt x="72" y="157"/>
                  </a:lnTo>
                  <a:lnTo>
                    <a:pt x="63" y="155"/>
                  </a:lnTo>
                  <a:lnTo>
                    <a:pt x="55" y="153"/>
                  </a:lnTo>
                  <a:lnTo>
                    <a:pt x="48" y="149"/>
                  </a:lnTo>
                  <a:lnTo>
                    <a:pt x="42" y="144"/>
                  </a:lnTo>
                  <a:lnTo>
                    <a:pt x="36" y="137"/>
                  </a:lnTo>
                  <a:lnTo>
                    <a:pt x="33" y="131"/>
                  </a:lnTo>
                  <a:lnTo>
                    <a:pt x="30" y="122"/>
                  </a:lnTo>
                  <a:lnTo>
                    <a:pt x="30" y="115"/>
                  </a:lnTo>
                  <a:lnTo>
                    <a:pt x="30" y="106"/>
                  </a:lnTo>
                  <a:lnTo>
                    <a:pt x="33" y="98"/>
                  </a:lnTo>
                  <a:lnTo>
                    <a:pt x="36" y="91"/>
                  </a:lnTo>
                  <a:lnTo>
                    <a:pt x="42" y="85"/>
                  </a:lnTo>
                  <a:lnTo>
                    <a:pt x="48" y="79"/>
                  </a:lnTo>
                  <a:lnTo>
                    <a:pt x="55" y="76"/>
                  </a:lnTo>
                  <a:lnTo>
                    <a:pt x="63" y="73"/>
                  </a:lnTo>
                  <a:lnTo>
                    <a:pt x="7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Freeform 135"/>
          <p:cNvSpPr>
            <a:spLocks noEditPoints="1"/>
          </p:cNvSpPr>
          <p:nvPr/>
        </p:nvSpPr>
        <p:spPr bwMode="auto">
          <a:xfrm>
            <a:off x="2625182" y="2466074"/>
            <a:ext cx="592334" cy="592334"/>
          </a:xfrm>
          <a:custGeom>
            <a:avLst/>
            <a:gdLst>
              <a:gd name="T0" fmla="*/ 783 w 903"/>
              <a:gd name="T1" fmla="*/ 533 h 903"/>
              <a:gd name="T2" fmla="*/ 853 w 903"/>
              <a:gd name="T3" fmla="*/ 505 h 903"/>
              <a:gd name="T4" fmla="*/ 853 w 903"/>
              <a:gd name="T5" fmla="*/ 580 h 903"/>
              <a:gd name="T6" fmla="*/ 435 w 903"/>
              <a:gd name="T7" fmla="*/ 504 h 903"/>
              <a:gd name="T8" fmla="*/ 376 w 903"/>
              <a:gd name="T9" fmla="*/ 392 h 903"/>
              <a:gd name="T10" fmla="*/ 435 w 903"/>
              <a:gd name="T11" fmla="*/ 280 h 903"/>
              <a:gd name="T12" fmla="*/ 564 w 903"/>
              <a:gd name="T13" fmla="*/ 267 h 903"/>
              <a:gd name="T14" fmla="*/ 644 w 903"/>
              <a:gd name="T15" fmla="*/ 365 h 903"/>
              <a:gd name="T16" fmla="*/ 607 w 903"/>
              <a:gd name="T17" fmla="*/ 488 h 903"/>
              <a:gd name="T18" fmla="*/ 65 w 903"/>
              <a:gd name="T19" fmla="*/ 873 h 903"/>
              <a:gd name="T20" fmla="*/ 37 w 903"/>
              <a:gd name="T21" fmla="*/ 803 h 903"/>
              <a:gd name="T22" fmla="*/ 112 w 903"/>
              <a:gd name="T23" fmla="*/ 803 h 903"/>
              <a:gd name="T24" fmla="*/ 84 w 903"/>
              <a:gd name="T25" fmla="*/ 873 h 903"/>
              <a:gd name="T26" fmla="*/ 873 w 903"/>
              <a:gd name="T27" fmla="*/ 76 h 903"/>
              <a:gd name="T28" fmla="*/ 810 w 903"/>
              <a:gd name="T29" fmla="*/ 117 h 903"/>
              <a:gd name="T30" fmla="*/ 796 w 903"/>
              <a:gd name="T31" fmla="*/ 44 h 903"/>
              <a:gd name="T32" fmla="*/ 559 w 903"/>
              <a:gd name="T33" fmla="*/ 860 h 903"/>
              <a:gd name="T34" fmla="*/ 485 w 903"/>
              <a:gd name="T35" fmla="*/ 846 h 903"/>
              <a:gd name="T36" fmla="*/ 526 w 903"/>
              <a:gd name="T37" fmla="*/ 783 h 903"/>
              <a:gd name="T38" fmla="*/ 65 w 903"/>
              <a:gd name="T39" fmla="*/ 255 h 903"/>
              <a:gd name="T40" fmla="*/ 37 w 903"/>
              <a:gd name="T41" fmla="*/ 186 h 903"/>
              <a:gd name="T42" fmla="*/ 112 w 903"/>
              <a:gd name="T43" fmla="*/ 186 h 903"/>
              <a:gd name="T44" fmla="*/ 84 w 903"/>
              <a:gd name="T45" fmla="*/ 255 h 903"/>
              <a:gd name="T46" fmla="*/ 768 w 903"/>
              <a:gd name="T47" fmla="*/ 498 h 903"/>
              <a:gd name="T48" fmla="*/ 662 w 903"/>
              <a:gd name="T49" fmla="*/ 322 h 903"/>
              <a:gd name="T50" fmla="*/ 843 w 903"/>
              <a:gd name="T51" fmla="*/ 149 h 903"/>
              <a:gd name="T52" fmla="*/ 896 w 903"/>
              <a:gd name="T53" fmla="*/ 105 h 903"/>
              <a:gd name="T54" fmla="*/ 890 w 903"/>
              <a:gd name="T55" fmla="*/ 33 h 903"/>
              <a:gd name="T56" fmla="*/ 828 w 903"/>
              <a:gd name="T57" fmla="*/ 0 h 903"/>
              <a:gd name="T58" fmla="*/ 765 w 903"/>
              <a:gd name="T59" fmla="*/ 33 h 903"/>
              <a:gd name="T60" fmla="*/ 765 w 903"/>
              <a:gd name="T61" fmla="*/ 117 h 903"/>
              <a:gd name="T62" fmla="*/ 500 w 903"/>
              <a:gd name="T63" fmla="*/ 226 h 903"/>
              <a:gd name="T64" fmla="*/ 399 w 903"/>
              <a:gd name="T65" fmla="*/ 272 h 903"/>
              <a:gd name="T66" fmla="*/ 149 w 903"/>
              <a:gd name="T67" fmla="*/ 196 h 903"/>
              <a:gd name="T68" fmla="*/ 104 w 903"/>
              <a:gd name="T69" fmla="*/ 142 h 903"/>
              <a:gd name="T70" fmla="*/ 33 w 903"/>
              <a:gd name="T71" fmla="*/ 149 h 903"/>
              <a:gd name="T72" fmla="*/ 0 w 903"/>
              <a:gd name="T73" fmla="*/ 211 h 903"/>
              <a:gd name="T74" fmla="*/ 33 w 903"/>
              <a:gd name="T75" fmla="*/ 274 h 903"/>
              <a:gd name="T76" fmla="*/ 110 w 903"/>
              <a:gd name="T77" fmla="*/ 278 h 903"/>
              <a:gd name="T78" fmla="*/ 346 w 903"/>
              <a:gd name="T79" fmla="*/ 407 h 903"/>
              <a:gd name="T80" fmla="*/ 96 w 903"/>
              <a:gd name="T81" fmla="*/ 756 h 903"/>
              <a:gd name="T82" fmla="*/ 21 w 903"/>
              <a:gd name="T83" fmla="*/ 776 h 903"/>
              <a:gd name="T84" fmla="*/ 1 w 903"/>
              <a:gd name="T85" fmla="*/ 843 h 903"/>
              <a:gd name="T86" fmla="*/ 46 w 903"/>
              <a:gd name="T87" fmla="*/ 898 h 903"/>
              <a:gd name="T88" fmla="*/ 117 w 903"/>
              <a:gd name="T89" fmla="*/ 890 h 903"/>
              <a:gd name="T90" fmla="*/ 150 w 903"/>
              <a:gd name="T91" fmla="*/ 828 h 903"/>
              <a:gd name="T92" fmla="*/ 467 w 903"/>
              <a:gd name="T93" fmla="*/ 551 h 903"/>
              <a:gd name="T94" fmla="*/ 469 w 903"/>
              <a:gd name="T95" fmla="*/ 781 h 903"/>
              <a:gd name="T96" fmla="*/ 452 w 903"/>
              <a:gd name="T97" fmla="*/ 843 h 903"/>
              <a:gd name="T98" fmla="*/ 498 w 903"/>
              <a:gd name="T99" fmla="*/ 898 h 903"/>
              <a:gd name="T100" fmla="*/ 568 w 903"/>
              <a:gd name="T101" fmla="*/ 890 h 903"/>
              <a:gd name="T102" fmla="*/ 602 w 903"/>
              <a:gd name="T103" fmla="*/ 828 h 903"/>
              <a:gd name="T104" fmla="*/ 565 w 903"/>
              <a:gd name="T105" fmla="*/ 764 h 903"/>
              <a:gd name="T106" fmla="*/ 620 w 903"/>
              <a:gd name="T107" fmla="*/ 516 h 903"/>
              <a:gd name="T108" fmla="*/ 758 w 903"/>
              <a:gd name="T109" fmla="*/ 572 h 903"/>
              <a:gd name="T110" fmla="*/ 812 w 903"/>
              <a:gd name="T111" fmla="*/ 616 h 903"/>
              <a:gd name="T112" fmla="*/ 880 w 903"/>
              <a:gd name="T113" fmla="*/ 595 h 903"/>
              <a:gd name="T114" fmla="*/ 901 w 903"/>
              <a:gd name="T115" fmla="*/ 528 h 903"/>
              <a:gd name="T116" fmla="*/ 857 w 903"/>
              <a:gd name="T117" fmla="*/ 473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3">
                <a:moveTo>
                  <a:pt x="828" y="588"/>
                </a:moveTo>
                <a:lnTo>
                  <a:pt x="818" y="587"/>
                </a:lnTo>
                <a:lnTo>
                  <a:pt x="810" y="584"/>
                </a:lnTo>
                <a:lnTo>
                  <a:pt x="802" y="580"/>
                </a:lnTo>
                <a:lnTo>
                  <a:pt x="796" y="574"/>
                </a:lnTo>
                <a:lnTo>
                  <a:pt x="790" y="567"/>
                </a:lnTo>
                <a:lnTo>
                  <a:pt x="786" y="560"/>
                </a:lnTo>
                <a:lnTo>
                  <a:pt x="783" y="551"/>
                </a:lnTo>
                <a:lnTo>
                  <a:pt x="783" y="543"/>
                </a:lnTo>
                <a:lnTo>
                  <a:pt x="783" y="533"/>
                </a:lnTo>
                <a:lnTo>
                  <a:pt x="786" y="525"/>
                </a:lnTo>
                <a:lnTo>
                  <a:pt x="790" y="517"/>
                </a:lnTo>
                <a:lnTo>
                  <a:pt x="796" y="511"/>
                </a:lnTo>
                <a:lnTo>
                  <a:pt x="802" y="505"/>
                </a:lnTo>
                <a:lnTo>
                  <a:pt x="810" y="501"/>
                </a:lnTo>
                <a:lnTo>
                  <a:pt x="818" y="498"/>
                </a:lnTo>
                <a:lnTo>
                  <a:pt x="828" y="498"/>
                </a:lnTo>
                <a:lnTo>
                  <a:pt x="836" y="498"/>
                </a:lnTo>
                <a:lnTo>
                  <a:pt x="845" y="501"/>
                </a:lnTo>
                <a:lnTo>
                  <a:pt x="853" y="505"/>
                </a:lnTo>
                <a:lnTo>
                  <a:pt x="859" y="511"/>
                </a:lnTo>
                <a:lnTo>
                  <a:pt x="864" y="517"/>
                </a:lnTo>
                <a:lnTo>
                  <a:pt x="869" y="525"/>
                </a:lnTo>
                <a:lnTo>
                  <a:pt x="872" y="533"/>
                </a:lnTo>
                <a:lnTo>
                  <a:pt x="873" y="543"/>
                </a:lnTo>
                <a:lnTo>
                  <a:pt x="872" y="551"/>
                </a:lnTo>
                <a:lnTo>
                  <a:pt x="869" y="560"/>
                </a:lnTo>
                <a:lnTo>
                  <a:pt x="865" y="567"/>
                </a:lnTo>
                <a:lnTo>
                  <a:pt x="859" y="574"/>
                </a:lnTo>
                <a:lnTo>
                  <a:pt x="853" y="580"/>
                </a:lnTo>
                <a:lnTo>
                  <a:pt x="845" y="584"/>
                </a:lnTo>
                <a:lnTo>
                  <a:pt x="836" y="587"/>
                </a:lnTo>
                <a:lnTo>
                  <a:pt x="828" y="588"/>
                </a:lnTo>
                <a:close/>
                <a:moveTo>
                  <a:pt x="511" y="528"/>
                </a:moveTo>
                <a:lnTo>
                  <a:pt x="498" y="527"/>
                </a:lnTo>
                <a:lnTo>
                  <a:pt x="484" y="525"/>
                </a:lnTo>
                <a:lnTo>
                  <a:pt x="471" y="521"/>
                </a:lnTo>
                <a:lnTo>
                  <a:pt x="459" y="517"/>
                </a:lnTo>
                <a:lnTo>
                  <a:pt x="447" y="511"/>
                </a:lnTo>
                <a:lnTo>
                  <a:pt x="435" y="504"/>
                </a:lnTo>
                <a:lnTo>
                  <a:pt x="426" y="497"/>
                </a:lnTo>
                <a:lnTo>
                  <a:pt x="416" y="488"/>
                </a:lnTo>
                <a:lnTo>
                  <a:pt x="406" y="478"/>
                </a:lnTo>
                <a:lnTo>
                  <a:pt x="399" y="468"/>
                </a:lnTo>
                <a:lnTo>
                  <a:pt x="392" y="456"/>
                </a:lnTo>
                <a:lnTo>
                  <a:pt x="387" y="444"/>
                </a:lnTo>
                <a:lnTo>
                  <a:pt x="382" y="432"/>
                </a:lnTo>
                <a:lnTo>
                  <a:pt x="378" y="420"/>
                </a:lnTo>
                <a:lnTo>
                  <a:pt x="376" y="406"/>
                </a:lnTo>
                <a:lnTo>
                  <a:pt x="376" y="392"/>
                </a:lnTo>
                <a:lnTo>
                  <a:pt x="376" y="378"/>
                </a:lnTo>
                <a:lnTo>
                  <a:pt x="378" y="365"/>
                </a:lnTo>
                <a:lnTo>
                  <a:pt x="382" y="352"/>
                </a:lnTo>
                <a:lnTo>
                  <a:pt x="387" y="339"/>
                </a:lnTo>
                <a:lnTo>
                  <a:pt x="392" y="327"/>
                </a:lnTo>
                <a:lnTo>
                  <a:pt x="399" y="317"/>
                </a:lnTo>
                <a:lnTo>
                  <a:pt x="406" y="306"/>
                </a:lnTo>
                <a:lnTo>
                  <a:pt x="416" y="296"/>
                </a:lnTo>
                <a:lnTo>
                  <a:pt x="426" y="288"/>
                </a:lnTo>
                <a:lnTo>
                  <a:pt x="435" y="280"/>
                </a:lnTo>
                <a:lnTo>
                  <a:pt x="447" y="273"/>
                </a:lnTo>
                <a:lnTo>
                  <a:pt x="459" y="267"/>
                </a:lnTo>
                <a:lnTo>
                  <a:pt x="471" y="263"/>
                </a:lnTo>
                <a:lnTo>
                  <a:pt x="484" y="260"/>
                </a:lnTo>
                <a:lnTo>
                  <a:pt x="498" y="258"/>
                </a:lnTo>
                <a:lnTo>
                  <a:pt x="511" y="257"/>
                </a:lnTo>
                <a:lnTo>
                  <a:pt x="525" y="258"/>
                </a:lnTo>
                <a:lnTo>
                  <a:pt x="538" y="260"/>
                </a:lnTo>
                <a:lnTo>
                  <a:pt x="551" y="263"/>
                </a:lnTo>
                <a:lnTo>
                  <a:pt x="564" y="267"/>
                </a:lnTo>
                <a:lnTo>
                  <a:pt x="576" y="273"/>
                </a:lnTo>
                <a:lnTo>
                  <a:pt x="587" y="280"/>
                </a:lnTo>
                <a:lnTo>
                  <a:pt x="597" y="288"/>
                </a:lnTo>
                <a:lnTo>
                  <a:pt x="607" y="296"/>
                </a:lnTo>
                <a:lnTo>
                  <a:pt x="615" y="306"/>
                </a:lnTo>
                <a:lnTo>
                  <a:pt x="624" y="317"/>
                </a:lnTo>
                <a:lnTo>
                  <a:pt x="630" y="327"/>
                </a:lnTo>
                <a:lnTo>
                  <a:pt x="636" y="339"/>
                </a:lnTo>
                <a:lnTo>
                  <a:pt x="640" y="352"/>
                </a:lnTo>
                <a:lnTo>
                  <a:pt x="644" y="365"/>
                </a:lnTo>
                <a:lnTo>
                  <a:pt x="647" y="378"/>
                </a:lnTo>
                <a:lnTo>
                  <a:pt x="647" y="392"/>
                </a:lnTo>
                <a:lnTo>
                  <a:pt x="647" y="406"/>
                </a:lnTo>
                <a:lnTo>
                  <a:pt x="644" y="420"/>
                </a:lnTo>
                <a:lnTo>
                  <a:pt x="640" y="432"/>
                </a:lnTo>
                <a:lnTo>
                  <a:pt x="636" y="444"/>
                </a:lnTo>
                <a:lnTo>
                  <a:pt x="630" y="456"/>
                </a:lnTo>
                <a:lnTo>
                  <a:pt x="624" y="468"/>
                </a:lnTo>
                <a:lnTo>
                  <a:pt x="615" y="478"/>
                </a:lnTo>
                <a:lnTo>
                  <a:pt x="607" y="488"/>
                </a:lnTo>
                <a:lnTo>
                  <a:pt x="597" y="497"/>
                </a:lnTo>
                <a:lnTo>
                  <a:pt x="587" y="504"/>
                </a:lnTo>
                <a:lnTo>
                  <a:pt x="576" y="511"/>
                </a:lnTo>
                <a:lnTo>
                  <a:pt x="564" y="517"/>
                </a:lnTo>
                <a:lnTo>
                  <a:pt x="551" y="521"/>
                </a:lnTo>
                <a:lnTo>
                  <a:pt x="538" y="525"/>
                </a:lnTo>
                <a:lnTo>
                  <a:pt x="525" y="527"/>
                </a:lnTo>
                <a:lnTo>
                  <a:pt x="511" y="528"/>
                </a:lnTo>
                <a:close/>
                <a:moveTo>
                  <a:pt x="75" y="873"/>
                </a:moveTo>
                <a:lnTo>
                  <a:pt x="65" y="873"/>
                </a:lnTo>
                <a:lnTo>
                  <a:pt x="58" y="870"/>
                </a:lnTo>
                <a:lnTo>
                  <a:pt x="49" y="866"/>
                </a:lnTo>
                <a:lnTo>
                  <a:pt x="43" y="860"/>
                </a:lnTo>
                <a:lnTo>
                  <a:pt x="37" y="854"/>
                </a:lnTo>
                <a:lnTo>
                  <a:pt x="33" y="846"/>
                </a:lnTo>
                <a:lnTo>
                  <a:pt x="31" y="838"/>
                </a:lnTo>
                <a:lnTo>
                  <a:pt x="30" y="828"/>
                </a:lnTo>
                <a:lnTo>
                  <a:pt x="31" y="819"/>
                </a:lnTo>
                <a:lnTo>
                  <a:pt x="33" y="811"/>
                </a:lnTo>
                <a:lnTo>
                  <a:pt x="37" y="803"/>
                </a:lnTo>
                <a:lnTo>
                  <a:pt x="43" y="796"/>
                </a:lnTo>
                <a:lnTo>
                  <a:pt x="49" y="791"/>
                </a:lnTo>
                <a:lnTo>
                  <a:pt x="58" y="786"/>
                </a:lnTo>
                <a:lnTo>
                  <a:pt x="65" y="784"/>
                </a:lnTo>
                <a:lnTo>
                  <a:pt x="75" y="783"/>
                </a:lnTo>
                <a:lnTo>
                  <a:pt x="84" y="784"/>
                </a:lnTo>
                <a:lnTo>
                  <a:pt x="92" y="787"/>
                </a:lnTo>
                <a:lnTo>
                  <a:pt x="100" y="791"/>
                </a:lnTo>
                <a:lnTo>
                  <a:pt x="107" y="797"/>
                </a:lnTo>
                <a:lnTo>
                  <a:pt x="112" y="803"/>
                </a:lnTo>
                <a:lnTo>
                  <a:pt x="117" y="811"/>
                </a:lnTo>
                <a:lnTo>
                  <a:pt x="119" y="819"/>
                </a:lnTo>
                <a:lnTo>
                  <a:pt x="120" y="828"/>
                </a:lnTo>
                <a:lnTo>
                  <a:pt x="119" y="838"/>
                </a:lnTo>
                <a:lnTo>
                  <a:pt x="117" y="846"/>
                </a:lnTo>
                <a:lnTo>
                  <a:pt x="112" y="854"/>
                </a:lnTo>
                <a:lnTo>
                  <a:pt x="107" y="860"/>
                </a:lnTo>
                <a:lnTo>
                  <a:pt x="100" y="866"/>
                </a:lnTo>
                <a:lnTo>
                  <a:pt x="92" y="870"/>
                </a:lnTo>
                <a:lnTo>
                  <a:pt x="84" y="873"/>
                </a:lnTo>
                <a:lnTo>
                  <a:pt x="75" y="873"/>
                </a:lnTo>
                <a:close/>
                <a:moveTo>
                  <a:pt x="828" y="30"/>
                </a:moveTo>
                <a:lnTo>
                  <a:pt x="836" y="31"/>
                </a:lnTo>
                <a:lnTo>
                  <a:pt x="845" y="35"/>
                </a:lnTo>
                <a:lnTo>
                  <a:pt x="853" y="39"/>
                </a:lnTo>
                <a:lnTo>
                  <a:pt x="859" y="44"/>
                </a:lnTo>
                <a:lnTo>
                  <a:pt x="864" y="51"/>
                </a:lnTo>
                <a:lnTo>
                  <a:pt x="869" y="58"/>
                </a:lnTo>
                <a:lnTo>
                  <a:pt x="872" y="67"/>
                </a:lnTo>
                <a:lnTo>
                  <a:pt x="873" y="76"/>
                </a:lnTo>
                <a:lnTo>
                  <a:pt x="872" y="85"/>
                </a:lnTo>
                <a:lnTo>
                  <a:pt x="869" y="94"/>
                </a:lnTo>
                <a:lnTo>
                  <a:pt x="865" y="101"/>
                </a:lnTo>
                <a:lnTo>
                  <a:pt x="859" y="107"/>
                </a:lnTo>
                <a:lnTo>
                  <a:pt x="853" y="113"/>
                </a:lnTo>
                <a:lnTo>
                  <a:pt x="845" y="117"/>
                </a:lnTo>
                <a:lnTo>
                  <a:pt x="836" y="120"/>
                </a:lnTo>
                <a:lnTo>
                  <a:pt x="828" y="121"/>
                </a:lnTo>
                <a:lnTo>
                  <a:pt x="818" y="120"/>
                </a:lnTo>
                <a:lnTo>
                  <a:pt x="810" y="117"/>
                </a:lnTo>
                <a:lnTo>
                  <a:pt x="802" y="113"/>
                </a:lnTo>
                <a:lnTo>
                  <a:pt x="796" y="107"/>
                </a:lnTo>
                <a:lnTo>
                  <a:pt x="790" y="101"/>
                </a:lnTo>
                <a:lnTo>
                  <a:pt x="786" y="94"/>
                </a:lnTo>
                <a:lnTo>
                  <a:pt x="783" y="85"/>
                </a:lnTo>
                <a:lnTo>
                  <a:pt x="783" y="76"/>
                </a:lnTo>
                <a:lnTo>
                  <a:pt x="783" y="67"/>
                </a:lnTo>
                <a:lnTo>
                  <a:pt x="786" y="58"/>
                </a:lnTo>
                <a:lnTo>
                  <a:pt x="790" y="51"/>
                </a:lnTo>
                <a:lnTo>
                  <a:pt x="796" y="44"/>
                </a:lnTo>
                <a:lnTo>
                  <a:pt x="802" y="39"/>
                </a:lnTo>
                <a:lnTo>
                  <a:pt x="810" y="35"/>
                </a:lnTo>
                <a:lnTo>
                  <a:pt x="818" y="31"/>
                </a:lnTo>
                <a:lnTo>
                  <a:pt x="828" y="30"/>
                </a:lnTo>
                <a:lnTo>
                  <a:pt x="828" y="30"/>
                </a:lnTo>
                <a:close/>
                <a:moveTo>
                  <a:pt x="572" y="828"/>
                </a:moveTo>
                <a:lnTo>
                  <a:pt x="570" y="838"/>
                </a:lnTo>
                <a:lnTo>
                  <a:pt x="568" y="846"/>
                </a:lnTo>
                <a:lnTo>
                  <a:pt x="564" y="854"/>
                </a:lnTo>
                <a:lnTo>
                  <a:pt x="559" y="860"/>
                </a:lnTo>
                <a:lnTo>
                  <a:pt x="551" y="866"/>
                </a:lnTo>
                <a:lnTo>
                  <a:pt x="544" y="870"/>
                </a:lnTo>
                <a:lnTo>
                  <a:pt x="535" y="873"/>
                </a:lnTo>
                <a:lnTo>
                  <a:pt x="526" y="873"/>
                </a:lnTo>
                <a:lnTo>
                  <a:pt x="517" y="873"/>
                </a:lnTo>
                <a:lnTo>
                  <a:pt x="509" y="870"/>
                </a:lnTo>
                <a:lnTo>
                  <a:pt x="501" y="866"/>
                </a:lnTo>
                <a:lnTo>
                  <a:pt x="494" y="860"/>
                </a:lnTo>
                <a:lnTo>
                  <a:pt x="489" y="854"/>
                </a:lnTo>
                <a:lnTo>
                  <a:pt x="485" y="846"/>
                </a:lnTo>
                <a:lnTo>
                  <a:pt x="482" y="838"/>
                </a:lnTo>
                <a:lnTo>
                  <a:pt x="481" y="828"/>
                </a:lnTo>
                <a:lnTo>
                  <a:pt x="482" y="819"/>
                </a:lnTo>
                <a:lnTo>
                  <a:pt x="485" y="811"/>
                </a:lnTo>
                <a:lnTo>
                  <a:pt x="489" y="803"/>
                </a:lnTo>
                <a:lnTo>
                  <a:pt x="494" y="796"/>
                </a:lnTo>
                <a:lnTo>
                  <a:pt x="501" y="791"/>
                </a:lnTo>
                <a:lnTo>
                  <a:pt x="509" y="786"/>
                </a:lnTo>
                <a:lnTo>
                  <a:pt x="517" y="784"/>
                </a:lnTo>
                <a:lnTo>
                  <a:pt x="526" y="783"/>
                </a:lnTo>
                <a:lnTo>
                  <a:pt x="535" y="784"/>
                </a:lnTo>
                <a:lnTo>
                  <a:pt x="544" y="787"/>
                </a:lnTo>
                <a:lnTo>
                  <a:pt x="551" y="791"/>
                </a:lnTo>
                <a:lnTo>
                  <a:pt x="559" y="797"/>
                </a:lnTo>
                <a:lnTo>
                  <a:pt x="564" y="803"/>
                </a:lnTo>
                <a:lnTo>
                  <a:pt x="568" y="811"/>
                </a:lnTo>
                <a:lnTo>
                  <a:pt x="570" y="819"/>
                </a:lnTo>
                <a:lnTo>
                  <a:pt x="572" y="828"/>
                </a:lnTo>
                <a:close/>
                <a:moveTo>
                  <a:pt x="75" y="257"/>
                </a:moveTo>
                <a:lnTo>
                  <a:pt x="65" y="255"/>
                </a:lnTo>
                <a:lnTo>
                  <a:pt x="58" y="253"/>
                </a:lnTo>
                <a:lnTo>
                  <a:pt x="49" y="249"/>
                </a:lnTo>
                <a:lnTo>
                  <a:pt x="43" y="244"/>
                </a:lnTo>
                <a:lnTo>
                  <a:pt x="37" y="236"/>
                </a:lnTo>
                <a:lnTo>
                  <a:pt x="33" y="229"/>
                </a:lnTo>
                <a:lnTo>
                  <a:pt x="31" y="220"/>
                </a:lnTo>
                <a:lnTo>
                  <a:pt x="30" y="211"/>
                </a:lnTo>
                <a:lnTo>
                  <a:pt x="31" y="202"/>
                </a:lnTo>
                <a:lnTo>
                  <a:pt x="33" y="193"/>
                </a:lnTo>
                <a:lnTo>
                  <a:pt x="37" y="186"/>
                </a:lnTo>
                <a:lnTo>
                  <a:pt x="43" y="179"/>
                </a:lnTo>
                <a:lnTo>
                  <a:pt x="49" y="174"/>
                </a:lnTo>
                <a:lnTo>
                  <a:pt x="58" y="170"/>
                </a:lnTo>
                <a:lnTo>
                  <a:pt x="65" y="168"/>
                </a:lnTo>
                <a:lnTo>
                  <a:pt x="75" y="166"/>
                </a:lnTo>
                <a:lnTo>
                  <a:pt x="84" y="168"/>
                </a:lnTo>
                <a:lnTo>
                  <a:pt x="92" y="170"/>
                </a:lnTo>
                <a:lnTo>
                  <a:pt x="100" y="174"/>
                </a:lnTo>
                <a:lnTo>
                  <a:pt x="107" y="179"/>
                </a:lnTo>
                <a:lnTo>
                  <a:pt x="112" y="186"/>
                </a:lnTo>
                <a:lnTo>
                  <a:pt x="117" y="193"/>
                </a:lnTo>
                <a:lnTo>
                  <a:pt x="119" y="202"/>
                </a:lnTo>
                <a:lnTo>
                  <a:pt x="120" y="211"/>
                </a:lnTo>
                <a:lnTo>
                  <a:pt x="119" y="220"/>
                </a:lnTo>
                <a:lnTo>
                  <a:pt x="117" y="229"/>
                </a:lnTo>
                <a:lnTo>
                  <a:pt x="112" y="236"/>
                </a:lnTo>
                <a:lnTo>
                  <a:pt x="107" y="244"/>
                </a:lnTo>
                <a:lnTo>
                  <a:pt x="100" y="249"/>
                </a:lnTo>
                <a:lnTo>
                  <a:pt x="92" y="253"/>
                </a:lnTo>
                <a:lnTo>
                  <a:pt x="84" y="255"/>
                </a:lnTo>
                <a:lnTo>
                  <a:pt x="75" y="257"/>
                </a:lnTo>
                <a:close/>
                <a:moveTo>
                  <a:pt x="828" y="467"/>
                </a:moveTo>
                <a:lnTo>
                  <a:pt x="818" y="468"/>
                </a:lnTo>
                <a:lnTo>
                  <a:pt x="810" y="469"/>
                </a:lnTo>
                <a:lnTo>
                  <a:pt x="801" y="472"/>
                </a:lnTo>
                <a:lnTo>
                  <a:pt x="794" y="475"/>
                </a:lnTo>
                <a:lnTo>
                  <a:pt x="786" y="480"/>
                </a:lnTo>
                <a:lnTo>
                  <a:pt x="780" y="485"/>
                </a:lnTo>
                <a:lnTo>
                  <a:pt x="773" y="490"/>
                </a:lnTo>
                <a:lnTo>
                  <a:pt x="768" y="498"/>
                </a:lnTo>
                <a:lnTo>
                  <a:pt x="667" y="450"/>
                </a:lnTo>
                <a:lnTo>
                  <a:pt x="671" y="436"/>
                </a:lnTo>
                <a:lnTo>
                  <a:pt x="674" y="422"/>
                </a:lnTo>
                <a:lnTo>
                  <a:pt x="677" y="407"/>
                </a:lnTo>
                <a:lnTo>
                  <a:pt x="677" y="392"/>
                </a:lnTo>
                <a:lnTo>
                  <a:pt x="677" y="377"/>
                </a:lnTo>
                <a:lnTo>
                  <a:pt x="674" y="363"/>
                </a:lnTo>
                <a:lnTo>
                  <a:pt x="671" y="349"/>
                </a:lnTo>
                <a:lnTo>
                  <a:pt x="667" y="335"/>
                </a:lnTo>
                <a:lnTo>
                  <a:pt x="662" y="322"/>
                </a:lnTo>
                <a:lnTo>
                  <a:pt x="654" y="309"/>
                </a:lnTo>
                <a:lnTo>
                  <a:pt x="647" y="297"/>
                </a:lnTo>
                <a:lnTo>
                  <a:pt x="638" y="285"/>
                </a:lnTo>
                <a:lnTo>
                  <a:pt x="786" y="139"/>
                </a:lnTo>
                <a:lnTo>
                  <a:pt x="796" y="144"/>
                </a:lnTo>
                <a:lnTo>
                  <a:pt x="805" y="148"/>
                </a:lnTo>
                <a:lnTo>
                  <a:pt x="816" y="150"/>
                </a:lnTo>
                <a:lnTo>
                  <a:pt x="828" y="151"/>
                </a:lnTo>
                <a:lnTo>
                  <a:pt x="835" y="150"/>
                </a:lnTo>
                <a:lnTo>
                  <a:pt x="843" y="149"/>
                </a:lnTo>
                <a:lnTo>
                  <a:pt x="849" y="148"/>
                </a:lnTo>
                <a:lnTo>
                  <a:pt x="857" y="145"/>
                </a:lnTo>
                <a:lnTo>
                  <a:pt x="863" y="142"/>
                </a:lnTo>
                <a:lnTo>
                  <a:pt x="870" y="139"/>
                </a:lnTo>
                <a:lnTo>
                  <a:pt x="875" y="134"/>
                </a:lnTo>
                <a:lnTo>
                  <a:pt x="880" y="129"/>
                </a:lnTo>
                <a:lnTo>
                  <a:pt x="886" y="124"/>
                </a:lnTo>
                <a:lnTo>
                  <a:pt x="890" y="118"/>
                </a:lnTo>
                <a:lnTo>
                  <a:pt x="893" y="112"/>
                </a:lnTo>
                <a:lnTo>
                  <a:pt x="896" y="105"/>
                </a:lnTo>
                <a:lnTo>
                  <a:pt x="900" y="98"/>
                </a:lnTo>
                <a:lnTo>
                  <a:pt x="901" y="91"/>
                </a:lnTo>
                <a:lnTo>
                  <a:pt x="902" y="84"/>
                </a:lnTo>
                <a:lnTo>
                  <a:pt x="903" y="76"/>
                </a:lnTo>
                <a:lnTo>
                  <a:pt x="902" y="68"/>
                </a:lnTo>
                <a:lnTo>
                  <a:pt x="901" y="60"/>
                </a:lnTo>
                <a:lnTo>
                  <a:pt x="900" y="54"/>
                </a:lnTo>
                <a:lnTo>
                  <a:pt x="896" y="46"/>
                </a:lnTo>
                <a:lnTo>
                  <a:pt x="893" y="40"/>
                </a:lnTo>
                <a:lnTo>
                  <a:pt x="890" y="33"/>
                </a:lnTo>
                <a:lnTo>
                  <a:pt x="886" y="28"/>
                </a:lnTo>
                <a:lnTo>
                  <a:pt x="880" y="23"/>
                </a:lnTo>
                <a:lnTo>
                  <a:pt x="875" y="17"/>
                </a:lnTo>
                <a:lnTo>
                  <a:pt x="870" y="13"/>
                </a:lnTo>
                <a:lnTo>
                  <a:pt x="863" y="10"/>
                </a:lnTo>
                <a:lnTo>
                  <a:pt x="857" y="7"/>
                </a:lnTo>
                <a:lnTo>
                  <a:pt x="849" y="5"/>
                </a:lnTo>
                <a:lnTo>
                  <a:pt x="843" y="2"/>
                </a:lnTo>
                <a:lnTo>
                  <a:pt x="835" y="1"/>
                </a:lnTo>
                <a:lnTo>
                  <a:pt x="828" y="0"/>
                </a:lnTo>
                <a:lnTo>
                  <a:pt x="819" y="1"/>
                </a:lnTo>
                <a:lnTo>
                  <a:pt x="812" y="2"/>
                </a:lnTo>
                <a:lnTo>
                  <a:pt x="805" y="5"/>
                </a:lnTo>
                <a:lnTo>
                  <a:pt x="798" y="7"/>
                </a:lnTo>
                <a:lnTo>
                  <a:pt x="791" y="10"/>
                </a:lnTo>
                <a:lnTo>
                  <a:pt x="785" y="13"/>
                </a:lnTo>
                <a:lnTo>
                  <a:pt x="780" y="17"/>
                </a:lnTo>
                <a:lnTo>
                  <a:pt x="774" y="23"/>
                </a:lnTo>
                <a:lnTo>
                  <a:pt x="769" y="28"/>
                </a:lnTo>
                <a:lnTo>
                  <a:pt x="765" y="33"/>
                </a:lnTo>
                <a:lnTo>
                  <a:pt x="761" y="40"/>
                </a:lnTo>
                <a:lnTo>
                  <a:pt x="758" y="46"/>
                </a:lnTo>
                <a:lnTo>
                  <a:pt x="756" y="54"/>
                </a:lnTo>
                <a:lnTo>
                  <a:pt x="754" y="60"/>
                </a:lnTo>
                <a:lnTo>
                  <a:pt x="753" y="68"/>
                </a:lnTo>
                <a:lnTo>
                  <a:pt x="752" y="76"/>
                </a:lnTo>
                <a:lnTo>
                  <a:pt x="753" y="87"/>
                </a:lnTo>
                <a:lnTo>
                  <a:pt x="756" y="98"/>
                </a:lnTo>
                <a:lnTo>
                  <a:pt x="759" y="107"/>
                </a:lnTo>
                <a:lnTo>
                  <a:pt x="765" y="117"/>
                </a:lnTo>
                <a:lnTo>
                  <a:pt x="618" y="265"/>
                </a:lnTo>
                <a:lnTo>
                  <a:pt x="606" y="257"/>
                </a:lnTo>
                <a:lnTo>
                  <a:pt x="594" y="249"/>
                </a:lnTo>
                <a:lnTo>
                  <a:pt x="581" y="243"/>
                </a:lnTo>
                <a:lnTo>
                  <a:pt x="568" y="236"/>
                </a:lnTo>
                <a:lnTo>
                  <a:pt x="554" y="232"/>
                </a:lnTo>
                <a:lnTo>
                  <a:pt x="540" y="229"/>
                </a:lnTo>
                <a:lnTo>
                  <a:pt x="526" y="228"/>
                </a:lnTo>
                <a:lnTo>
                  <a:pt x="511" y="226"/>
                </a:lnTo>
                <a:lnTo>
                  <a:pt x="500" y="226"/>
                </a:lnTo>
                <a:lnTo>
                  <a:pt x="488" y="228"/>
                </a:lnTo>
                <a:lnTo>
                  <a:pt x="476" y="230"/>
                </a:lnTo>
                <a:lnTo>
                  <a:pt x="465" y="233"/>
                </a:lnTo>
                <a:lnTo>
                  <a:pt x="455" y="236"/>
                </a:lnTo>
                <a:lnTo>
                  <a:pt x="444" y="240"/>
                </a:lnTo>
                <a:lnTo>
                  <a:pt x="434" y="246"/>
                </a:lnTo>
                <a:lnTo>
                  <a:pt x="425" y="251"/>
                </a:lnTo>
                <a:lnTo>
                  <a:pt x="415" y="258"/>
                </a:lnTo>
                <a:lnTo>
                  <a:pt x="406" y="264"/>
                </a:lnTo>
                <a:lnTo>
                  <a:pt x="399" y="272"/>
                </a:lnTo>
                <a:lnTo>
                  <a:pt x="390" y="279"/>
                </a:lnTo>
                <a:lnTo>
                  <a:pt x="383" y="288"/>
                </a:lnTo>
                <a:lnTo>
                  <a:pt x="376" y="296"/>
                </a:lnTo>
                <a:lnTo>
                  <a:pt x="370" y="306"/>
                </a:lnTo>
                <a:lnTo>
                  <a:pt x="365" y="315"/>
                </a:lnTo>
                <a:lnTo>
                  <a:pt x="149" y="225"/>
                </a:lnTo>
                <a:lnTo>
                  <a:pt x="150" y="219"/>
                </a:lnTo>
                <a:lnTo>
                  <a:pt x="150" y="211"/>
                </a:lnTo>
                <a:lnTo>
                  <a:pt x="150" y="204"/>
                </a:lnTo>
                <a:lnTo>
                  <a:pt x="149" y="196"/>
                </a:lnTo>
                <a:lnTo>
                  <a:pt x="147" y="189"/>
                </a:lnTo>
                <a:lnTo>
                  <a:pt x="145" y="183"/>
                </a:lnTo>
                <a:lnTo>
                  <a:pt x="141" y="175"/>
                </a:lnTo>
                <a:lnTo>
                  <a:pt x="137" y="170"/>
                </a:lnTo>
                <a:lnTo>
                  <a:pt x="133" y="163"/>
                </a:lnTo>
                <a:lnTo>
                  <a:pt x="127" y="158"/>
                </a:lnTo>
                <a:lnTo>
                  <a:pt x="122" y="154"/>
                </a:lnTo>
                <a:lnTo>
                  <a:pt x="117" y="149"/>
                </a:lnTo>
                <a:lnTo>
                  <a:pt x="110" y="145"/>
                </a:lnTo>
                <a:lnTo>
                  <a:pt x="104" y="142"/>
                </a:lnTo>
                <a:lnTo>
                  <a:pt x="97" y="140"/>
                </a:lnTo>
                <a:lnTo>
                  <a:pt x="90" y="137"/>
                </a:lnTo>
                <a:lnTo>
                  <a:pt x="82" y="136"/>
                </a:lnTo>
                <a:lnTo>
                  <a:pt x="75" y="136"/>
                </a:lnTo>
                <a:lnTo>
                  <a:pt x="67" y="136"/>
                </a:lnTo>
                <a:lnTo>
                  <a:pt x="60" y="137"/>
                </a:lnTo>
                <a:lnTo>
                  <a:pt x="52" y="140"/>
                </a:lnTo>
                <a:lnTo>
                  <a:pt x="46" y="142"/>
                </a:lnTo>
                <a:lnTo>
                  <a:pt x="38" y="145"/>
                </a:lnTo>
                <a:lnTo>
                  <a:pt x="33" y="149"/>
                </a:lnTo>
                <a:lnTo>
                  <a:pt x="27" y="154"/>
                </a:lnTo>
                <a:lnTo>
                  <a:pt x="21" y="158"/>
                </a:lnTo>
                <a:lnTo>
                  <a:pt x="17" y="163"/>
                </a:lnTo>
                <a:lnTo>
                  <a:pt x="13" y="170"/>
                </a:lnTo>
                <a:lnTo>
                  <a:pt x="8" y="175"/>
                </a:lnTo>
                <a:lnTo>
                  <a:pt x="5" y="183"/>
                </a:lnTo>
                <a:lnTo>
                  <a:pt x="3" y="189"/>
                </a:lnTo>
                <a:lnTo>
                  <a:pt x="1" y="196"/>
                </a:lnTo>
                <a:lnTo>
                  <a:pt x="0" y="204"/>
                </a:lnTo>
                <a:lnTo>
                  <a:pt x="0" y="211"/>
                </a:lnTo>
                <a:lnTo>
                  <a:pt x="0" y="219"/>
                </a:lnTo>
                <a:lnTo>
                  <a:pt x="1" y="226"/>
                </a:lnTo>
                <a:lnTo>
                  <a:pt x="3" y="234"/>
                </a:lnTo>
                <a:lnTo>
                  <a:pt x="5" y="240"/>
                </a:lnTo>
                <a:lnTo>
                  <a:pt x="8" y="247"/>
                </a:lnTo>
                <a:lnTo>
                  <a:pt x="13" y="253"/>
                </a:lnTo>
                <a:lnTo>
                  <a:pt x="17" y="259"/>
                </a:lnTo>
                <a:lnTo>
                  <a:pt x="21" y="264"/>
                </a:lnTo>
                <a:lnTo>
                  <a:pt x="27" y="269"/>
                </a:lnTo>
                <a:lnTo>
                  <a:pt x="33" y="274"/>
                </a:lnTo>
                <a:lnTo>
                  <a:pt x="38" y="278"/>
                </a:lnTo>
                <a:lnTo>
                  <a:pt x="46" y="281"/>
                </a:lnTo>
                <a:lnTo>
                  <a:pt x="52" y="283"/>
                </a:lnTo>
                <a:lnTo>
                  <a:pt x="60" y="285"/>
                </a:lnTo>
                <a:lnTo>
                  <a:pt x="67" y="287"/>
                </a:lnTo>
                <a:lnTo>
                  <a:pt x="75" y="287"/>
                </a:lnTo>
                <a:lnTo>
                  <a:pt x="85" y="285"/>
                </a:lnTo>
                <a:lnTo>
                  <a:pt x="93" y="284"/>
                </a:lnTo>
                <a:lnTo>
                  <a:pt x="103" y="281"/>
                </a:lnTo>
                <a:lnTo>
                  <a:pt x="110" y="278"/>
                </a:lnTo>
                <a:lnTo>
                  <a:pt x="118" y="273"/>
                </a:lnTo>
                <a:lnTo>
                  <a:pt x="125" y="267"/>
                </a:lnTo>
                <a:lnTo>
                  <a:pt x="132" y="261"/>
                </a:lnTo>
                <a:lnTo>
                  <a:pt x="137" y="253"/>
                </a:lnTo>
                <a:lnTo>
                  <a:pt x="353" y="342"/>
                </a:lnTo>
                <a:lnTo>
                  <a:pt x="350" y="354"/>
                </a:lnTo>
                <a:lnTo>
                  <a:pt x="347" y="367"/>
                </a:lnTo>
                <a:lnTo>
                  <a:pt x="346" y="379"/>
                </a:lnTo>
                <a:lnTo>
                  <a:pt x="345" y="392"/>
                </a:lnTo>
                <a:lnTo>
                  <a:pt x="346" y="407"/>
                </a:lnTo>
                <a:lnTo>
                  <a:pt x="348" y="422"/>
                </a:lnTo>
                <a:lnTo>
                  <a:pt x="352" y="436"/>
                </a:lnTo>
                <a:lnTo>
                  <a:pt x="356" y="450"/>
                </a:lnTo>
                <a:lnTo>
                  <a:pt x="361" y="462"/>
                </a:lnTo>
                <a:lnTo>
                  <a:pt x="368" y="474"/>
                </a:lnTo>
                <a:lnTo>
                  <a:pt x="375" y="487"/>
                </a:lnTo>
                <a:lnTo>
                  <a:pt x="384" y="498"/>
                </a:lnTo>
                <a:lnTo>
                  <a:pt x="116" y="766"/>
                </a:lnTo>
                <a:lnTo>
                  <a:pt x="107" y="761"/>
                </a:lnTo>
                <a:lnTo>
                  <a:pt x="96" y="756"/>
                </a:lnTo>
                <a:lnTo>
                  <a:pt x="86" y="754"/>
                </a:lnTo>
                <a:lnTo>
                  <a:pt x="75" y="753"/>
                </a:lnTo>
                <a:lnTo>
                  <a:pt x="67" y="753"/>
                </a:lnTo>
                <a:lnTo>
                  <a:pt x="60" y="755"/>
                </a:lnTo>
                <a:lnTo>
                  <a:pt x="52" y="756"/>
                </a:lnTo>
                <a:lnTo>
                  <a:pt x="46" y="759"/>
                </a:lnTo>
                <a:lnTo>
                  <a:pt x="38" y="763"/>
                </a:lnTo>
                <a:lnTo>
                  <a:pt x="33" y="766"/>
                </a:lnTo>
                <a:lnTo>
                  <a:pt x="27" y="770"/>
                </a:lnTo>
                <a:lnTo>
                  <a:pt x="21" y="776"/>
                </a:lnTo>
                <a:lnTo>
                  <a:pt x="17" y="781"/>
                </a:lnTo>
                <a:lnTo>
                  <a:pt x="13" y="786"/>
                </a:lnTo>
                <a:lnTo>
                  <a:pt x="8" y="793"/>
                </a:lnTo>
                <a:lnTo>
                  <a:pt x="5" y="799"/>
                </a:lnTo>
                <a:lnTo>
                  <a:pt x="3" y="806"/>
                </a:lnTo>
                <a:lnTo>
                  <a:pt x="1" y="813"/>
                </a:lnTo>
                <a:lnTo>
                  <a:pt x="0" y="821"/>
                </a:lnTo>
                <a:lnTo>
                  <a:pt x="0" y="828"/>
                </a:lnTo>
                <a:lnTo>
                  <a:pt x="0" y="836"/>
                </a:lnTo>
                <a:lnTo>
                  <a:pt x="1" y="843"/>
                </a:lnTo>
                <a:lnTo>
                  <a:pt x="3" y="851"/>
                </a:lnTo>
                <a:lnTo>
                  <a:pt x="5" y="858"/>
                </a:lnTo>
                <a:lnTo>
                  <a:pt x="8" y="865"/>
                </a:lnTo>
                <a:lnTo>
                  <a:pt x="13" y="870"/>
                </a:lnTo>
                <a:lnTo>
                  <a:pt x="17" y="876"/>
                </a:lnTo>
                <a:lnTo>
                  <a:pt x="21" y="882"/>
                </a:lnTo>
                <a:lnTo>
                  <a:pt x="27" y="886"/>
                </a:lnTo>
                <a:lnTo>
                  <a:pt x="33" y="890"/>
                </a:lnTo>
                <a:lnTo>
                  <a:pt x="38" y="895"/>
                </a:lnTo>
                <a:lnTo>
                  <a:pt x="46" y="898"/>
                </a:lnTo>
                <a:lnTo>
                  <a:pt x="52" y="900"/>
                </a:lnTo>
                <a:lnTo>
                  <a:pt x="60" y="902"/>
                </a:lnTo>
                <a:lnTo>
                  <a:pt x="67" y="903"/>
                </a:lnTo>
                <a:lnTo>
                  <a:pt x="75" y="903"/>
                </a:lnTo>
                <a:lnTo>
                  <a:pt x="82" y="903"/>
                </a:lnTo>
                <a:lnTo>
                  <a:pt x="90" y="902"/>
                </a:lnTo>
                <a:lnTo>
                  <a:pt x="97" y="900"/>
                </a:lnTo>
                <a:lnTo>
                  <a:pt x="104" y="898"/>
                </a:lnTo>
                <a:lnTo>
                  <a:pt x="110" y="895"/>
                </a:lnTo>
                <a:lnTo>
                  <a:pt x="117" y="890"/>
                </a:lnTo>
                <a:lnTo>
                  <a:pt x="122" y="886"/>
                </a:lnTo>
                <a:lnTo>
                  <a:pt x="127" y="882"/>
                </a:lnTo>
                <a:lnTo>
                  <a:pt x="133" y="876"/>
                </a:lnTo>
                <a:lnTo>
                  <a:pt x="137" y="870"/>
                </a:lnTo>
                <a:lnTo>
                  <a:pt x="141" y="865"/>
                </a:lnTo>
                <a:lnTo>
                  <a:pt x="145" y="858"/>
                </a:lnTo>
                <a:lnTo>
                  <a:pt x="147" y="851"/>
                </a:lnTo>
                <a:lnTo>
                  <a:pt x="149" y="843"/>
                </a:lnTo>
                <a:lnTo>
                  <a:pt x="150" y="836"/>
                </a:lnTo>
                <a:lnTo>
                  <a:pt x="150" y="828"/>
                </a:lnTo>
                <a:lnTo>
                  <a:pt x="149" y="817"/>
                </a:lnTo>
                <a:lnTo>
                  <a:pt x="147" y="807"/>
                </a:lnTo>
                <a:lnTo>
                  <a:pt x="143" y="796"/>
                </a:lnTo>
                <a:lnTo>
                  <a:pt x="137" y="787"/>
                </a:lnTo>
                <a:lnTo>
                  <a:pt x="405" y="519"/>
                </a:lnTo>
                <a:lnTo>
                  <a:pt x="417" y="528"/>
                </a:lnTo>
                <a:lnTo>
                  <a:pt x="429" y="535"/>
                </a:lnTo>
                <a:lnTo>
                  <a:pt x="441" y="542"/>
                </a:lnTo>
                <a:lnTo>
                  <a:pt x="454" y="547"/>
                </a:lnTo>
                <a:lnTo>
                  <a:pt x="467" y="551"/>
                </a:lnTo>
                <a:lnTo>
                  <a:pt x="481" y="555"/>
                </a:lnTo>
                <a:lnTo>
                  <a:pt x="496" y="557"/>
                </a:lnTo>
                <a:lnTo>
                  <a:pt x="511" y="558"/>
                </a:lnTo>
                <a:lnTo>
                  <a:pt x="511" y="754"/>
                </a:lnTo>
                <a:lnTo>
                  <a:pt x="505" y="756"/>
                </a:lnTo>
                <a:lnTo>
                  <a:pt x="499" y="758"/>
                </a:lnTo>
                <a:lnTo>
                  <a:pt x="493" y="761"/>
                </a:lnTo>
                <a:lnTo>
                  <a:pt x="488" y="764"/>
                </a:lnTo>
                <a:lnTo>
                  <a:pt x="477" y="771"/>
                </a:lnTo>
                <a:lnTo>
                  <a:pt x="469" y="781"/>
                </a:lnTo>
                <a:lnTo>
                  <a:pt x="464" y="785"/>
                </a:lnTo>
                <a:lnTo>
                  <a:pt x="461" y="791"/>
                </a:lnTo>
                <a:lnTo>
                  <a:pt x="458" y="797"/>
                </a:lnTo>
                <a:lnTo>
                  <a:pt x="456" y="802"/>
                </a:lnTo>
                <a:lnTo>
                  <a:pt x="454" y="809"/>
                </a:lnTo>
                <a:lnTo>
                  <a:pt x="452" y="815"/>
                </a:lnTo>
                <a:lnTo>
                  <a:pt x="451" y="822"/>
                </a:lnTo>
                <a:lnTo>
                  <a:pt x="451" y="828"/>
                </a:lnTo>
                <a:lnTo>
                  <a:pt x="451" y="836"/>
                </a:lnTo>
                <a:lnTo>
                  <a:pt x="452" y="843"/>
                </a:lnTo>
                <a:lnTo>
                  <a:pt x="455" y="851"/>
                </a:lnTo>
                <a:lnTo>
                  <a:pt x="457" y="858"/>
                </a:lnTo>
                <a:lnTo>
                  <a:pt x="460" y="865"/>
                </a:lnTo>
                <a:lnTo>
                  <a:pt x="464" y="870"/>
                </a:lnTo>
                <a:lnTo>
                  <a:pt x="469" y="876"/>
                </a:lnTo>
                <a:lnTo>
                  <a:pt x="473" y="882"/>
                </a:lnTo>
                <a:lnTo>
                  <a:pt x="478" y="886"/>
                </a:lnTo>
                <a:lnTo>
                  <a:pt x="485" y="890"/>
                </a:lnTo>
                <a:lnTo>
                  <a:pt x="490" y="895"/>
                </a:lnTo>
                <a:lnTo>
                  <a:pt x="498" y="898"/>
                </a:lnTo>
                <a:lnTo>
                  <a:pt x="504" y="900"/>
                </a:lnTo>
                <a:lnTo>
                  <a:pt x="511" y="902"/>
                </a:lnTo>
                <a:lnTo>
                  <a:pt x="519" y="903"/>
                </a:lnTo>
                <a:lnTo>
                  <a:pt x="526" y="903"/>
                </a:lnTo>
                <a:lnTo>
                  <a:pt x="534" y="903"/>
                </a:lnTo>
                <a:lnTo>
                  <a:pt x="541" y="902"/>
                </a:lnTo>
                <a:lnTo>
                  <a:pt x="549" y="900"/>
                </a:lnTo>
                <a:lnTo>
                  <a:pt x="555" y="898"/>
                </a:lnTo>
                <a:lnTo>
                  <a:pt x="562" y="895"/>
                </a:lnTo>
                <a:lnTo>
                  <a:pt x="568" y="890"/>
                </a:lnTo>
                <a:lnTo>
                  <a:pt x="575" y="886"/>
                </a:lnTo>
                <a:lnTo>
                  <a:pt x="580" y="882"/>
                </a:lnTo>
                <a:lnTo>
                  <a:pt x="584" y="876"/>
                </a:lnTo>
                <a:lnTo>
                  <a:pt x="589" y="870"/>
                </a:lnTo>
                <a:lnTo>
                  <a:pt x="593" y="865"/>
                </a:lnTo>
                <a:lnTo>
                  <a:pt x="596" y="858"/>
                </a:lnTo>
                <a:lnTo>
                  <a:pt x="598" y="851"/>
                </a:lnTo>
                <a:lnTo>
                  <a:pt x="600" y="843"/>
                </a:lnTo>
                <a:lnTo>
                  <a:pt x="602" y="836"/>
                </a:lnTo>
                <a:lnTo>
                  <a:pt x="602" y="828"/>
                </a:lnTo>
                <a:lnTo>
                  <a:pt x="602" y="822"/>
                </a:lnTo>
                <a:lnTo>
                  <a:pt x="600" y="815"/>
                </a:lnTo>
                <a:lnTo>
                  <a:pt x="599" y="809"/>
                </a:lnTo>
                <a:lnTo>
                  <a:pt x="597" y="802"/>
                </a:lnTo>
                <a:lnTo>
                  <a:pt x="595" y="797"/>
                </a:lnTo>
                <a:lnTo>
                  <a:pt x="592" y="791"/>
                </a:lnTo>
                <a:lnTo>
                  <a:pt x="589" y="785"/>
                </a:lnTo>
                <a:lnTo>
                  <a:pt x="584" y="781"/>
                </a:lnTo>
                <a:lnTo>
                  <a:pt x="576" y="771"/>
                </a:lnTo>
                <a:lnTo>
                  <a:pt x="565" y="764"/>
                </a:lnTo>
                <a:lnTo>
                  <a:pt x="560" y="761"/>
                </a:lnTo>
                <a:lnTo>
                  <a:pt x="554" y="758"/>
                </a:lnTo>
                <a:lnTo>
                  <a:pt x="548" y="756"/>
                </a:lnTo>
                <a:lnTo>
                  <a:pt x="541" y="755"/>
                </a:lnTo>
                <a:lnTo>
                  <a:pt x="541" y="555"/>
                </a:lnTo>
                <a:lnTo>
                  <a:pt x="559" y="550"/>
                </a:lnTo>
                <a:lnTo>
                  <a:pt x="576" y="544"/>
                </a:lnTo>
                <a:lnTo>
                  <a:pt x="592" y="536"/>
                </a:lnTo>
                <a:lnTo>
                  <a:pt x="606" y="527"/>
                </a:lnTo>
                <a:lnTo>
                  <a:pt x="620" y="516"/>
                </a:lnTo>
                <a:lnTo>
                  <a:pt x="633" y="504"/>
                </a:lnTo>
                <a:lnTo>
                  <a:pt x="643" y="490"/>
                </a:lnTo>
                <a:lnTo>
                  <a:pt x="653" y="476"/>
                </a:lnTo>
                <a:lnTo>
                  <a:pt x="755" y="525"/>
                </a:lnTo>
                <a:lnTo>
                  <a:pt x="753" y="533"/>
                </a:lnTo>
                <a:lnTo>
                  <a:pt x="752" y="543"/>
                </a:lnTo>
                <a:lnTo>
                  <a:pt x="753" y="550"/>
                </a:lnTo>
                <a:lnTo>
                  <a:pt x="754" y="558"/>
                </a:lnTo>
                <a:lnTo>
                  <a:pt x="756" y="564"/>
                </a:lnTo>
                <a:lnTo>
                  <a:pt x="758" y="572"/>
                </a:lnTo>
                <a:lnTo>
                  <a:pt x="761" y="578"/>
                </a:lnTo>
                <a:lnTo>
                  <a:pt x="765" y="585"/>
                </a:lnTo>
                <a:lnTo>
                  <a:pt x="769" y="590"/>
                </a:lnTo>
                <a:lnTo>
                  <a:pt x="774" y="595"/>
                </a:lnTo>
                <a:lnTo>
                  <a:pt x="780" y="601"/>
                </a:lnTo>
                <a:lnTo>
                  <a:pt x="785" y="605"/>
                </a:lnTo>
                <a:lnTo>
                  <a:pt x="791" y="608"/>
                </a:lnTo>
                <a:lnTo>
                  <a:pt x="798" y="611"/>
                </a:lnTo>
                <a:lnTo>
                  <a:pt x="805" y="615"/>
                </a:lnTo>
                <a:lnTo>
                  <a:pt x="812" y="616"/>
                </a:lnTo>
                <a:lnTo>
                  <a:pt x="819" y="617"/>
                </a:lnTo>
                <a:lnTo>
                  <a:pt x="828" y="618"/>
                </a:lnTo>
                <a:lnTo>
                  <a:pt x="835" y="617"/>
                </a:lnTo>
                <a:lnTo>
                  <a:pt x="843" y="616"/>
                </a:lnTo>
                <a:lnTo>
                  <a:pt x="849" y="615"/>
                </a:lnTo>
                <a:lnTo>
                  <a:pt x="857" y="611"/>
                </a:lnTo>
                <a:lnTo>
                  <a:pt x="863" y="608"/>
                </a:lnTo>
                <a:lnTo>
                  <a:pt x="870" y="605"/>
                </a:lnTo>
                <a:lnTo>
                  <a:pt x="875" y="601"/>
                </a:lnTo>
                <a:lnTo>
                  <a:pt x="880" y="595"/>
                </a:lnTo>
                <a:lnTo>
                  <a:pt x="886" y="590"/>
                </a:lnTo>
                <a:lnTo>
                  <a:pt x="890" y="585"/>
                </a:lnTo>
                <a:lnTo>
                  <a:pt x="893" y="578"/>
                </a:lnTo>
                <a:lnTo>
                  <a:pt x="896" y="572"/>
                </a:lnTo>
                <a:lnTo>
                  <a:pt x="900" y="564"/>
                </a:lnTo>
                <a:lnTo>
                  <a:pt x="901" y="558"/>
                </a:lnTo>
                <a:lnTo>
                  <a:pt x="902" y="550"/>
                </a:lnTo>
                <a:lnTo>
                  <a:pt x="903" y="543"/>
                </a:lnTo>
                <a:lnTo>
                  <a:pt x="902" y="534"/>
                </a:lnTo>
                <a:lnTo>
                  <a:pt x="901" y="528"/>
                </a:lnTo>
                <a:lnTo>
                  <a:pt x="900" y="520"/>
                </a:lnTo>
                <a:lnTo>
                  <a:pt x="896" y="513"/>
                </a:lnTo>
                <a:lnTo>
                  <a:pt x="893" y="506"/>
                </a:lnTo>
                <a:lnTo>
                  <a:pt x="890" y="500"/>
                </a:lnTo>
                <a:lnTo>
                  <a:pt x="886" y="495"/>
                </a:lnTo>
                <a:lnTo>
                  <a:pt x="880" y="489"/>
                </a:lnTo>
                <a:lnTo>
                  <a:pt x="875" y="484"/>
                </a:lnTo>
                <a:lnTo>
                  <a:pt x="870" y="480"/>
                </a:lnTo>
                <a:lnTo>
                  <a:pt x="863" y="476"/>
                </a:lnTo>
                <a:lnTo>
                  <a:pt x="857" y="473"/>
                </a:lnTo>
                <a:lnTo>
                  <a:pt x="849" y="471"/>
                </a:lnTo>
                <a:lnTo>
                  <a:pt x="843" y="469"/>
                </a:lnTo>
                <a:lnTo>
                  <a:pt x="835" y="468"/>
                </a:lnTo>
                <a:lnTo>
                  <a:pt x="828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972809" y="2466074"/>
            <a:ext cx="595682" cy="592334"/>
            <a:chOff x="5468938" y="1920875"/>
            <a:chExt cx="282575" cy="28098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2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90"/>
            <p:cNvSpPr/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1"/>
            <p:cNvSpPr/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7" name="Freeform 332"/>
          <p:cNvSpPr>
            <a:spLocks noEditPoints="1"/>
          </p:cNvSpPr>
          <p:nvPr/>
        </p:nvSpPr>
        <p:spPr bwMode="auto">
          <a:xfrm>
            <a:off x="4986125" y="2470803"/>
            <a:ext cx="2219750" cy="2219742"/>
          </a:xfrm>
          <a:custGeom>
            <a:avLst/>
            <a:gdLst>
              <a:gd name="T0" fmla="*/ 581 w 903"/>
              <a:gd name="T1" fmla="*/ 737 h 903"/>
              <a:gd name="T2" fmla="*/ 739 w 903"/>
              <a:gd name="T3" fmla="*/ 758 h 903"/>
              <a:gd name="T4" fmla="*/ 610 w 903"/>
              <a:gd name="T5" fmla="*/ 841 h 903"/>
              <a:gd name="T6" fmla="*/ 441 w 903"/>
              <a:gd name="T7" fmla="*/ 872 h 903"/>
              <a:gd name="T8" fmla="*/ 344 w 903"/>
              <a:gd name="T9" fmla="*/ 714 h 903"/>
              <a:gd name="T10" fmla="*/ 508 w 903"/>
              <a:gd name="T11" fmla="*/ 804 h 903"/>
              <a:gd name="T12" fmla="*/ 441 w 903"/>
              <a:gd name="T13" fmla="*/ 872 h 903"/>
              <a:gd name="T14" fmla="*/ 345 w 903"/>
              <a:gd name="T15" fmla="*/ 781 h 903"/>
              <a:gd name="T16" fmla="*/ 336 w 903"/>
              <a:gd name="T17" fmla="*/ 856 h 903"/>
              <a:gd name="T18" fmla="*/ 198 w 903"/>
              <a:gd name="T19" fmla="*/ 787 h 903"/>
              <a:gd name="T20" fmla="*/ 108 w 903"/>
              <a:gd name="T21" fmla="*/ 692 h 903"/>
              <a:gd name="T22" fmla="*/ 250 w 903"/>
              <a:gd name="T23" fmla="*/ 383 h 903"/>
              <a:gd name="T24" fmla="*/ 31 w 903"/>
              <a:gd name="T25" fmla="*/ 419 h 903"/>
              <a:gd name="T26" fmla="*/ 66 w 903"/>
              <a:gd name="T27" fmla="*/ 270 h 903"/>
              <a:gd name="T28" fmla="*/ 313 w 903"/>
              <a:gd name="T29" fmla="*/ 160 h 903"/>
              <a:gd name="T30" fmla="*/ 122 w 903"/>
              <a:gd name="T31" fmla="*/ 181 h 903"/>
              <a:gd name="T32" fmla="*/ 253 w 903"/>
              <a:gd name="T33" fmla="*/ 76 h 903"/>
              <a:gd name="T34" fmla="*/ 463 w 903"/>
              <a:gd name="T35" fmla="*/ 30 h 903"/>
              <a:gd name="T36" fmla="*/ 582 w 903"/>
              <a:gd name="T37" fmla="*/ 213 h 903"/>
              <a:gd name="T38" fmla="*/ 380 w 903"/>
              <a:gd name="T39" fmla="*/ 106 h 903"/>
              <a:gd name="T40" fmla="*/ 463 w 903"/>
              <a:gd name="T41" fmla="*/ 30 h 903"/>
              <a:gd name="T42" fmla="*/ 561 w 903"/>
              <a:gd name="T43" fmla="*/ 108 h 903"/>
              <a:gd name="T44" fmla="*/ 602 w 903"/>
              <a:gd name="T45" fmla="*/ 58 h 903"/>
              <a:gd name="T46" fmla="*/ 743 w 903"/>
              <a:gd name="T47" fmla="*/ 147 h 903"/>
              <a:gd name="T48" fmla="*/ 872 w 903"/>
              <a:gd name="T49" fmla="*/ 482 h 903"/>
              <a:gd name="T50" fmla="*/ 827 w 903"/>
              <a:gd name="T51" fmla="*/ 641 h 903"/>
              <a:gd name="T52" fmla="*/ 643 w 903"/>
              <a:gd name="T53" fmla="*/ 549 h 903"/>
              <a:gd name="T54" fmla="*/ 616 w 903"/>
              <a:gd name="T55" fmla="*/ 315 h 903"/>
              <a:gd name="T56" fmla="*/ 277 w 903"/>
              <a:gd name="T57" fmla="*/ 451 h 903"/>
              <a:gd name="T58" fmla="*/ 293 w 903"/>
              <a:gd name="T59" fmla="*/ 293 h 903"/>
              <a:gd name="T60" fmla="*/ 614 w 903"/>
              <a:gd name="T61" fmla="*/ 549 h 903"/>
              <a:gd name="T62" fmla="*/ 313 w 903"/>
              <a:gd name="T63" fmla="*/ 639 h 903"/>
              <a:gd name="T64" fmla="*/ 279 w 903"/>
              <a:gd name="T65" fmla="*/ 482 h 903"/>
              <a:gd name="T66" fmla="*/ 269 w 903"/>
              <a:gd name="T67" fmla="*/ 594 h 903"/>
              <a:gd name="T68" fmla="*/ 59 w 903"/>
              <a:gd name="T69" fmla="*/ 598 h 903"/>
              <a:gd name="T70" fmla="*/ 655 w 903"/>
              <a:gd name="T71" fmla="*/ 451 h 903"/>
              <a:gd name="T72" fmla="*/ 639 w 903"/>
              <a:gd name="T73" fmla="*/ 293 h 903"/>
              <a:gd name="T74" fmla="*/ 867 w 903"/>
              <a:gd name="T75" fmla="*/ 380 h 903"/>
              <a:gd name="T76" fmla="*/ 451 w 903"/>
              <a:gd name="T77" fmla="*/ 0 h 903"/>
              <a:gd name="T78" fmla="*/ 322 w 903"/>
              <a:gd name="T79" fmla="*/ 17 h 903"/>
              <a:gd name="T80" fmla="*/ 187 w 903"/>
              <a:gd name="T81" fmla="*/ 80 h 903"/>
              <a:gd name="T82" fmla="*/ 84 w 903"/>
              <a:gd name="T83" fmla="*/ 181 h 903"/>
              <a:gd name="T84" fmla="*/ 18 w 903"/>
              <a:gd name="T85" fmla="*/ 312 h 903"/>
              <a:gd name="T86" fmla="*/ 0 w 903"/>
              <a:gd name="T87" fmla="*/ 465 h 903"/>
              <a:gd name="T88" fmla="*/ 35 w 903"/>
              <a:gd name="T89" fmla="*/ 621 h 903"/>
              <a:gd name="T90" fmla="*/ 117 w 903"/>
              <a:gd name="T91" fmla="*/ 752 h 903"/>
              <a:gd name="T92" fmla="*/ 236 w 903"/>
              <a:gd name="T93" fmla="*/ 847 h 903"/>
              <a:gd name="T94" fmla="*/ 382 w 903"/>
              <a:gd name="T95" fmla="*/ 898 h 903"/>
              <a:gd name="T96" fmla="*/ 542 w 903"/>
              <a:gd name="T97" fmla="*/ 894 h 903"/>
              <a:gd name="T98" fmla="*/ 685 w 903"/>
              <a:gd name="T99" fmla="*/ 838 h 903"/>
              <a:gd name="T100" fmla="*/ 799 w 903"/>
              <a:gd name="T101" fmla="*/ 738 h 903"/>
              <a:gd name="T102" fmla="*/ 875 w 903"/>
              <a:gd name="T103" fmla="*/ 605 h 903"/>
              <a:gd name="T104" fmla="*/ 903 w 903"/>
              <a:gd name="T105" fmla="*/ 449 h 903"/>
              <a:gd name="T106" fmla="*/ 875 w 903"/>
              <a:gd name="T107" fmla="*/ 295 h 903"/>
              <a:gd name="T108" fmla="*/ 800 w 903"/>
              <a:gd name="T109" fmla="*/ 163 h 903"/>
              <a:gd name="T110" fmla="*/ 685 w 903"/>
              <a:gd name="T111" fmla="*/ 65 h 903"/>
              <a:gd name="T112" fmla="*/ 543 w 903"/>
              <a:gd name="T113" fmla="*/ 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903">
                <a:moveTo>
                  <a:pt x="502" y="870"/>
                </a:moveTo>
                <a:lnTo>
                  <a:pt x="517" y="847"/>
                </a:lnTo>
                <a:lnTo>
                  <a:pt x="532" y="826"/>
                </a:lnTo>
                <a:lnTo>
                  <a:pt x="545" y="803"/>
                </a:lnTo>
                <a:lnTo>
                  <a:pt x="558" y="781"/>
                </a:lnTo>
                <a:lnTo>
                  <a:pt x="569" y="759"/>
                </a:lnTo>
                <a:lnTo>
                  <a:pt x="581" y="737"/>
                </a:lnTo>
                <a:lnTo>
                  <a:pt x="591" y="714"/>
                </a:lnTo>
                <a:lnTo>
                  <a:pt x="601" y="692"/>
                </a:lnTo>
                <a:lnTo>
                  <a:pt x="796" y="692"/>
                </a:lnTo>
                <a:lnTo>
                  <a:pt x="783" y="710"/>
                </a:lnTo>
                <a:lnTo>
                  <a:pt x="769" y="726"/>
                </a:lnTo>
                <a:lnTo>
                  <a:pt x="755" y="742"/>
                </a:lnTo>
                <a:lnTo>
                  <a:pt x="739" y="758"/>
                </a:lnTo>
                <a:lnTo>
                  <a:pt x="723" y="772"/>
                </a:lnTo>
                <a:lnTo>
                  <a:pt x="706" y="786"/>
                </a:lnTo>
                <a:lnTo>
                  <a:pt x="689" y="799"/>
                </a:lnTo>
                <a:lnTo>
                  <a:pt x="669" y="811"/>
                </a:lnTo>
                <a:lnTo>
                  <a:pt x="651" y="822"/>
                </a:lnTo>
                <a:lnTo>
                  <a:pt x="631" y="832"/>
                </a:lnTo>
                <a:lnTo>
                  <a:pt x="610" y="841"/>
                </a:lnTo>
                <a:lnTo>
                  <a:pt x="590" y="848"/>
                </a:lnTo>
                <a:lnTo>
                  <a:pt x="568" y="856"/>
                </a:lnTo>
                <a:lnTo>
                  <a:pt x="547" y="861"/>
                </a:lnTo>
                <a:lnTo>
                  <a:pt x="524" y="866"/>
                </a:lnTo>
                <a:lnTo>
                  <a:pt x="502" y="870"/>
                </a:lnTo>
                <a:lnTo>
                  <a:pt x="502" y="870"/>
                </a:lnTo>
                <a:close/>
                <a:moveTo>
                  <a:pt x="441" y="872"/>
                </a:moveTo>
                <a:lnTo>
                  <a:pt x="425" y="850"/>
                </a:lnTo>
                <a:lnTo>
                  <a:pt x="409" y="827"/>
                </a:lnTo>
                <a:lnTo>
                  <a:pt x="395" y="804"/>
                </a:lnTo>
                <a:lnTo>
                  <a:pt x="381" y="782"/>
                </a:lnTo>
                <a:lnTo>
                  <a:pt x="368" y="759"/>
                </a:lnTo>
                <a:lnTo>
                  <a:pt x="356" y="737"/>
                </a:lnTo>
                <a:lnTo>
                  <a:pt x="344" y="714"/>
                </a:lnTo>
                <a:lnTo>
                  <a:pt x="335" y="692"/>
                </a:lnTo>
                <a:lnTo>
                  <a:pt x="568" y="692"/>
                </a:lnTo>
                <a:lnTo>
                  <a:pt x="559" y="714"/>
                </a:lnTo>
                <a:lnTo>
                  <a:pt x="547" y="737"/>
                </a:lnTo>
                <a:lnTo>
                  <a:pt x="535" y="759"/>
                </a:lnTo>
                <a:lnTo>
                  <a:pt x="522" y="782"/>
                </a:lnTo>
                <a:lnTo>
                  <a:pt x="508" y="804"/>
                </a:lnTo>
                <a:lnTo>
                  <a:pt x="494" y="827"/>
                </a:lnTo>
                <a:lnTo>
                  <a:pt x="479" y="850"/>
                </a:lnTo>
                <a:lnTo>
                  <a:pt x="463" y="872"/>
                </a:lnTo>
                <a:lnTo>
                  <a:pt x="457" y="873"/>
                </a:lnTo>
                <a:lnTo>
                  <a:pt x="450" y="873"/>
                </a:lnTo>
                <a:lnTo>
                  <a:pt x="445" y="873"/>
                </a:lnTo>
                <a:lnTo>
                  <a:pt x="441" y="872"/>
                </a:lnTo>
                <a:lnTo>
                  <a:pt x="441" y="872"/>
                </a:lnTo>
                <a:close/>
                <a:moveTo>
                  <a:pt x="108" y="692"/>
                </a:moveTo>
                <a:lnTo>
                  <a:pt x="302" y="692"/>
                </a:lnTo>
                <a:lnTo>
                  <a:pt x="312" y="714"/>
                </a:lnTo>
                <a:lnTo>
                  <a:pt x="323" y="737"/>
                </a:lnTo>
                <a:lnTo>
                  <a:pt x="334" y="759"/>
                </a:lnTo>
                <a:lnTo>
                  <a:pt x="345" y="781"/>
                </a:lnTo>
                <a:lnTo>
                  <a:pt x="358" y="803"/>
                </a:lnTo>
                <a:lnTo>
                  <a:pt x="372" y="826"/>
                </a:lnTo>
                <a:lnTo>
                  <a:pt x="386" y="847"/>
                </a:lnTo>
                <a:lnTo>
                  <a:pt x="401" y="870"/>
                </a:lnTo>
                <a:lnTo>
                  <a:pt x="379" y="867"/>
                </a:lnTo>
                <a:lnTo>
                  <a:pt x="357" y="862"/>
                </a:lnTo>
                <a:lnTo>
                  <a:pt x="336" y="856"/>
                </a:lnTo>
                <a:lnTo>
                  <a:pt x="314" y="850"/>
                </a:lnTo>
                <a:lnTo>
                  <a:pt x="294" y="842"/>
                </a:lnTo>
                <a:lnTo>
                  <a:pt x="273" y="832"/>
                </a:lnTo>
                <a:lnTo>
                  <a:pt x="254" y="823"/>
                </a:lnTo>
                <a:lnTo>
                  <a:pt x="235" y="812"/>
                </a:lnTo>
                <a:lnTo>
                  <a:pt x="217" y="800"/>
                </a:lnTo>
                <a:lnTo>
                  <a:pt x="198" y="787"/>
                </a:lnTo>
                <a:lnTo>
                  <a:pt x="182" y="773"/>
                </a:lnTo>
                <a:lnTo>
                  <a:pt x="165" y="758"/>
                </a:lnTo>
                <a:lnTo>
                  <a:pt x="150" y="743"/>
                </a:lnTo>
                <a:lnTo>
                  <a:pt x="135" y="727"/>
                </a:lnTo>
                <a:lnTo>
                  <a:pt x="121" y="710"/>
                </a:lnTo>
                <a:lnTo>
                  <a:pt x="108" y="692"/>
                </a:lnTo>
                <a:lnTo>
                  <a:pt x="108" y="692"/>
                </a:lnTo>
                <a:close/>
                <a:moveTo>
                  <a:pt x="66" y="270"/>
                </a:moveTo>
                <a:lnTo>
                  <a:pt x="270" y="270"/>
                </a:lnTo>
                <a:lnTo>
                  <a:pt x="264" y="293"/>
                </a:lnTo>
                <a:lnTo>
                  <a:pt x="260" y="315"/>
                </a:lnTo>
                <a:lnTo>
                  <a:pt x="255" y="337"/>
                </a:lnTo>
                <a:lnTo>
                  <a:pt x="252" y="359"/>
                </a:lnTo>
                <a:lnTo>
                  <a:pt x="250" y="383"/>
                </a:lnTo>
                <a:lnTo>
                  <a:pt x="249" y="405"/>
                </a:lnTo>
                <a:lnTo>
                  <a:pt x="248" y="428"/>
                </a:lnTo>
                <a:lnTo>
                  <a:pt x="248" y="451"/>
                </a:lnTo>
                <a:lnTo>
                  <a:pt x="30" y="451"/>
                </a:lnTo>
                <a:lnTo>
                  <a:pt x="30" y="446"/>
                </a:lnTo>
                <a:lnTo>
                  <a:pt x="30" y="442"/>
                </a:lnTo>
                <a:lnTo>
                  <a:pt x="31" y="419"/>
                </a:lnTo>
                <a:lnTo>
                  <a:pt x="32" y="397"/>
                </a:lnTo>
                <a:lnTo>
                  <a:pt x="35" y="374"/>
                </a:lnTo>
                <a:lnTo>
                  <a:pt x="40" y="353"/>
                </a:lnTo>
                <a:lnTo>
                  <a:pt x="45" y="331"/>
                </a:lnTo>
                <a:lnTo>
                  <a:pt x="50" y="311"/>
                </a:lnTo>
                <a:lnTo>
                  <a:pt x="58" y="291"/>
                </a:lnTo>
                <a:lnTo>
                  <a:pt x="66" y="270"/>
                </a:lnTo>
                <a:lnTo>
                  <a:pt x="66" y="270"/>
                </a:lnTo>
                <a:close/>
                <a:moveTo>
                  <a:pt x="397" y="33"/>
                </a:moveTo>
                <a:lnTo>
                  <a:pt x="377" y="58"/>
                </a:lnTo>
                <a:lnTo>
                  <a:pt x="359" y="82"/>
                </a:lnTo>
                <a:lnTo>
                  <a:pt x="342" y="108"/>
                </a:lnTo>
                <a:lnTo>
                  <a:pt x="327" y="134"/>
                </a:lnTo>
                <a:lnTo>
                  <a:pt x="313" y="160"/>
                </a:lnTo>
                <a:lnTo>
                  <a:pt x="300" y="186"/>
                </a:lnTo>
                <a:lnTo>
                  <a:pt x="288" y="213"/>
                </a:lnTo>
                <a:lnTo>
                  <a:pt x="279" y="240"/>
                </a:lnTo>
                <a:lnTo>
                  <a:pt x="81" y="240"/>
                </a:lnTo>
                <a:lnTo>
                  <a:pt x="94" y="220"/>
                </a:lnTo>
                <a:lnTo>
                  <a:pt x="107" y="200"/>
                </a:lnTo>
                <a:lnTo>
                  <a:pt x="122" y="181"/>
                </a:lnTo>
                <a:lnTo>
                  <a:pt x="137" y="163"/>
                </a:lnTo>
                <a:lnTo>
                  <a:pt x="154" y="146"/>
                </a:lnTo>
                <a:lnTo>
                  <a:pt x="173" y="130"/>
                </a:lnTo>
                <a:lnTo>
                  <a:pt x="191" y="115"/>
                </a:lnTo>
                <a:lnTo>
                  <a:pt x="211" y="101"/>
                </a:lnTo>
                <a:lnTo>
                  <a:pt x="232" y="88"/>
                </a:lnTo>
                <a:lnTo>
                  <a:pt x="253" y="76"/>
                </a:lnTo>
                <a:lnTo>
                  <a:pt x="275" y="66"/>
                </a:lnTo>
                <a:lnTo>
                  <a:pt x="298" y="57"/>
                </a:lnTo>
                <a:lnTo>
                  <a:pt x="322" y="49"/>
                </a:lnTo>
                <a:lnTo>
                  <a:pt x="346" y="42"/>
                </a:lnTo>
                <a:lnTo>
                  <a:pt x="371" y="36"/>
                </a:lnTo>
                <a:lnTo>
                  <a:pt x="397" y="33"/>
                </a:lnTo>
                <a:close/>
                <a:moveTo>
                  <a:pt x="463" y="30"/>
                </a:moveTo>
                <a:lnTo>
                  <a:pt x="486" y="55"/>
                </a:lnTo>
                <a:lnTo>
                  <a:pt x="505" y="80"/>
                </a:lnTo>
                <a:lnTo>
                  <a:pt x="524" y="106"/>
                </a:lnTo>
                <a:lnTo>
                  <a:pt x="540" y="132"/>
                </a:lnTo>
                <a:lnTo>
                  <a:pt x="557" y="159"/>
                </a:lnTo>
                <a:lnTo>
                  <a:pt x="571" y="185"/>
                </a:lnTo>
                <a:lnTo>
                  <a:pt x="582" y="213"/>
                </a:lnTo>
                <a:lnTo>
                  <a:pt x="594" y="240"/>
                </a:lnTo>
                <a:lnTo>
                  <a:pt x="310" y="240"/>
                </a:lnTo>
                <a:lnTo>
                  <a:pt x="321" y="212"/>
                </a:lnTo>
                <a:lnTo>
                  <a:pt x="332" y="185"/>
                </a:lnTo>
                <a:lnTo>
                  <a:pt x="346" y="159"/>
                </a:lnTo>
                <a:lnTo>
                  <a:pt x="362" y="132"/>
                </a:lnTo>
                <a:lnTo>
                  <a:pt x="380" y="106"/>
                </a:lnTo>
                <a:lnTo>
                  <a:pt x="398" y="80"/>
                </a:lnTo>
                <a:lnTo>
                  <a:pt x="418" y="55"/>
                </a:lnTo>
                <a:lnTo>
                  <a:pt x="440" y="30"/>
                </a:lnTo>
                <a:lnTo>
                  <a:pt x="445" y="30"/>
                </a:lnTo>
                <a:lnTo>
                  <a:pt x="451" y="30"/>
                </a:lnTo>
                <a:lnTo>
                  <a:pt x="458" y="30"/>
                </a:lnTo>
                <a:lnTo>
                  <a:pt x="463" y="30"/>
                </a:lnTo>
                <a:close/>
                <a:moveTo>
                  <a:pt x="817" y="240"/>
                </a:moveTo>
                <a:lnTo>
                  <a:pt x="624" y="240"/>
                </a:lnTo>
                <a:lnTo>
                  <a:pt x="614" y="213"/>
                </a:lnTo>
                <a:lnTo>
                  <a:pt x="603" y="186"/>
                </a:lnTo>
                <a:lnTo>
                  <a:pt x="591" y="160"/>
                </a:lnTo>
                <a:lnTo>
                  <a:pt x="576" y="134"/>
                </a:lnTo>
                <a:lnTo>
                  <a:pt x="561" y="108"/>
                </a:lnTo>
                <a:lnTo>
                  <a:pt x="544" y="82"/>
                </a:lnTo>
                <a:lnTo>
                  <a:pt x="527" y="58"/>
                </a:lnTo>
                <a:lnTo>
                  <a:pt x="506" y="33"/>
                </a:lnTo>
                <a:lnTo>
                  <a:pt x="531" y="37"/>
                </a:lnTo>
                <a:lnTo>
                  <a:pt x="556" y="43"/>
                </a:lnTo>
                <a:lnTo>
                  <a:pt x="579" y="49"/>
                </a:lnTo>
                <a:lnTo>
                  <a:pt x="602" y="58"/>
                </a:lnTo>
                <a:lnTo>
                  <a:pt x="624" y="66"/>
                </a:lnTo>
                <a:lnTo>
                  <a:pt x="646" y="77"/>
                </a:lnTo>
                <a:lnTo>
                  <a:pt x="667" y="89"/>
                </a:lnTo>
                <a:lnTo>
                  <a:pt x="687" y="102"/>
                </a:lnTo>
                <a:lnTo>
                  <a:pt x="707" y="116"/>
                </a:lnTo>
                <a:lnTo>
                  <a:pt x="725" y="131"/>
                </a:lnTo>
                <a:lnTo>
                  <a:pt x="743" y="147"/>
                </a:lnTo>
                <a:lnTo>
                  <a:pt x="759" y="164"/>
                </a:lnTo>
                <a:lnTo>
                  <a:pt x="775" y="181"/>
                </a:lnTo>
                <a:lnTo>
                  <a:pt x="790" y="200"/>
                </a:lnTo>
                <a:lnTo>
                  <a:pt x="804" y="220"/>
                </a:lnTo>
                <a:lnTo>
                  <a:pt x="817" y="240"/>
                </a:lnTo>
                <a:close/>
                <a:moveTo>
                  <a:pt x="653" y="482"/>
                </a:moveTo>
                <a:lnTo>
                  <a:pt x="872" y="482"/>
                </a:lnTo>
                <a:lnTo>
                  <a:pt x="869" y="506"/>
                </a:lnTo>
                <a:lnTo>
                  <a:pt x="865" y="530"/>
                </a:lnTo>
                <a:lnTo>
                  <a:pt x="860" y="553"/>
                </a:lnTo>
                <a:lnTo>
                  <a:pt x="854" y="576"/>
                </a:lnTo>
                <a:lnTo>
                  <a:pt x="846" y="598"/>
                </a:lnTo>
                <a:lnTo>
                  <a:pt x="837" y="620"/>
                </a:lnTo>
                <a:lnTo>
                  <a:pt x="827" y="641"/>
                </a:lnTo>
                <a:lnTo>
                  <a:pt x="815" y="662"/>
                </a:lnTo>
                <a:lnTo>
                  <a:pt x="612" y="662"/>
                </a:lnTo>
                <a:lnTo>
                  <a:pt x="620" y="639"/>
                </a:lnTo>
                <a:lnTo>
                  <a:pt x="627" y="617"/>
                </a:lnTo>
                <a:lnTo>
                  <a:pt x="634" y="594"/>
                </a:lnTo>
                <a:lnTo>
                  <a:pt x="639" y="572"/>
                </a:lnTo>
                <a:lnTo>
                  <a:pt x="643" y="549"/>
                </a:lnTo>
                <a:lnTo>
                  <a:pt x="648" y="527"/>
                </a:lnTo>
                <a:lnTo>
                  <a:pt x="651" y="504"/>
                </a:lnTo>
                <a:lnTo>
                  <a:pt x="653" y="482"/>
                </a:lnTo>
                <a:close/>
                <a:moveTo>
                  <a:pt x="299" y="270"/>
                </a:moveTo>
                <a:lnTo>
                  <a:pt x="604" y="270"/>
                </a:lnTo>
                <a:lnTo>
                  <a:pt x="610" y="293"/>
                </a:lnTo>
                <a:lnTo>
                  <a:pt x="616" y="315"/>
                </a:lnTo>
                <a:lnTo>
                  <a:pt x="620" y="337"/>
                </a:lnTo>
                <a:lnTo>
                  <a:pt x="623" y="359"/>
                </a:lnTo>
                <a:lnTo>
                  <a:pt x="625" y="383"/>
                </a:lnTo>
                <a:lnTo>
                  <a:pt x="626" y="405"/>
                </a:lnTo>
                <a:lnTo>
                  <a:pt x="627" y="428"/>
                </a:lnTo>
                <a:lnTo>
                  <a:pt x="626" y="451"/>
                </a:lnTo>
                <a:lnTo>
                  <a:pt x="277" y="451"/>
                </a:lnTo>
                <a:lnTo>
                  <a:pt x="276" y="428"/>
                </a:lnTo>
                <a:lnTo>
                  <a:pt x="277" y="405"/>
                </a:lnTo>
                <a:lnTo>
                  <a:pt x="278" y="383"/>
                </a:lnTo>
                <a:lnTo>
                  <a:pt x="280" y="359"/>
                </a:lnTo>
                <a:lnTo>
                  <a:pt x="284" y="337"/>
                </a:lnTo>
                <a:lnTo>
                  <a:pt x="288" y="315"/>
                </a:lnTo>
                <a:lnTo>
                  <a:pt x="293" y="293"/>
                </a:lnTo>
                <a:lnTo>
                  <a:pt x="299" y="270"/>
                </a:lnTo>
                <a:lnTo>
                  <a:pt x="299" y="270"/>
                </a:lnTo>
                <a:close/>
                <a:moveTo>
                  <a:pt x="279" y="482"/>
                </a:moveTo>
                <a:lnTo>
                  <a:pt x="625" y="482"/>
                </a:lnTo>
                <a:lnTo>
                  <a:pt x="622" y="504"/>
                </a:lnTo>
                <a:lnTo>
                  <a:pt x="619" y="527"/>
                </a:lnTo>
                <a:lnTo>
                  <a:pt x="614" y="549"/>
                </a:lnTo>
                <a:lnTo>
                  <a:pt x="610" y="572"/>
                </a:lnTo>
                <a:lnTo>
                  <a:pt x="604" y="594"/>
                </a:lnTo>
                <a:lnTo>
                  <a:pt x="597" y="617"/>
                </a:lnTo>
                <a:lnTo>
                  <a:pt x="590" y="639"/>
                </a:lnTo>
                <a:lnTo>
                  <a:pt x="581" y="662"/>
                </a:lnTo>
                <a:lnTo>
                  <a:pt x="322" y="662"/>
                </a:lnTo>
                <a:lnTo>
                  <a:pt x="313" y="639"/>
                </a:lnTo>
                <a:lnTo>
                  <a:pt x="306" y="617"/>
                </a:lnTo>
                <a:lnTo>
                  <a:pt x="299" y="594"/>
                </a:lnTo>
                <a:lnTo>
                  <a:pt x="293" y="572"/>
                </a:lnTo>
                <a:lnTo>
                  <a:pt x="288" y="549"/>
                </a:lnTo>
                <a:lnTo>
                  <a:pt x="284" y="527"/>
                </a:lnTo>
                <a:lnTo>
                  <a:pt x="281" y="504"/>
                </a:lnTo>
                <a:lnTo>
                  <a:pt x="279" y="482"/>
                </a:lnTo>
                <a:close/>
                <a:moveTo>
                  <a:pt x="32" y="482"/>
                </a:moveTo>
                <a:lnTo>
                  <a:pt x="250" y="482"/>
                </a:lnTo>
                <a:lnTo>
                  <a:pt x="252" y="504"/>
                </a:lnTo>
                <a:lnTo>
                  <a:pt x="255" y="527"/>
                </a:lnTo>
                <a:lnTo>
                  <a:pt x="260" y="549"/>
                </a:lnTo>
                <a:lnTo>
                  <a:pt x="264" y="572"/>
                </a:lnTo>
                <a:lnTo>
                  <a:pt x="269" y="594"/>
                </a:lnTo>
                <a:lnTo>
                  <a:pt x="276" y="617"/>
                </a:lnTo>
                <a:lnTo>
                  <a:pt x="283" y="639"/>
                </a:lnTo>
                <a:lnTo>
                  <a:pt x="291" y="662"/>
                </a:lnTo>
                <a:lnTo>
                  <a:pt x="89" y="662"/>
                </a:lnTo>
                <a:lnTo>
                  <a:pt x="78" y="641"/>
                </a:lnTo>
                <a:lnTo>
                  <a:pt x="68" y="620"/>
                </a:lnTo>
                <a:lnTo>
                  <a:pt x="59" y="598"/>
                </a:lnTo>
                <a:lnTo>
                  <a:pt x="51" y="576"/>
                </a:lnTo>
                <a:lnTo>
                  <a:pt x="44" y="553"/>
                </a:lnTo>
                <a:lnTo>
                  <a:pt x="39" y="530"/>
                </a:lnTo>
                <a:lnTo>
                  <a:pt x="34" y="506"/>
                </a:lnTo>
                <a:lnTo>
                  <a:pt x="32" y="482"/>
                </a:lnTo>
                <a:close/>
                <a:moveTo>
                  <a:pt x="873" y="451"/>
                </a:moveTo>
                <a:lnTo>
                  <a:pt x="655" y="451"/>
                </a:lnTo>
                <a:lnTo>
                  <a:pt x="655" y="428"/>
                </a:lnTo>
                <a:lnTo>
                  <a:pt x="655" y="405"/>
                </a:lnTo>
                <a:lnTo>
                  <a:pt x="653" y="383"/>
                </a:lnTo>
                <a:lnTo>
                  <a:pt x="651" y="359"/>
                </a:lnTo>
                <a:lnTo>
                  <a:pt x="648" y="337"/>
                </a:lnTo>
                <a:lnTo>
                  <a:pt x="645" y="315"/>
                </a:lnTo>
                <a:lnTo>
                  <a:pt x="639" y="293"/>
                </a:lnTo>
                <a:lnTo>
                  <a:pt x="634" y="270"/>
                </a:lnTo>
                <a:lnTo>
                  <a:pt x="832" y="270"/>
                </a:lnTo>
                <a:lnTo>
                  <a:pt x="842" y="292"/>
                </a:lnTo>
                <a:lnTo>
                  <a:pt x="849" y="312"/>
                </a:lnTo>
                <a:lnTo>
                  <a:pt x="857" y="335"/>
                </a:lnTo>
                <a:lnTo>
                  <a:pt x="862" y="356"/>
                </a:lnTo>
                <a:lnTo>
                  <a:pt x="867" y="380"/>
                </a:lnTo>
                <a:lnTo>
                  <a:pt x="870" y="402"/>
                </a:lnTo>
                <a:lnTo>
                  <a:pt x="872" y="426"/>
                </a:lnTo>
                <a:lnTo>
                  <a:pt x="873" y="449"/>
                </a:lnTo>
                <a:lnTo>
                  <a:pt x="873" y="450"/>
                </a:lnTo>
                <a:lnTo>
                  <a:pt x="873" y="451"/>
                </a:lnTo>
                <a:lnTo>
                  <a:pt x="873" y="451"/>
                </a:lnTo>
                <a:close/>
                <a:moveTo>
                  <a:pt x="451" y="0"/>
                </a:moveTo>
                <a:lnTo>
                  <a:pt x="442" y="0"/>
                </a:lnTo>
                <a:lnTo>
                  <a:pt x="432" y="0"/>
                </a:lnTo>
                <a:lnTo>
                  <a:pt x="409" y="1"/>
                </a:lnTo>
                <a:lnTo>
                  <a:pt x="386" y="4"/>
                </a:lnTo>
                <a:lnTo>
                  <a:pt x="365" y="7"/>
                </a:lnTo>
                <a:lnTo>
                  <a:pt x="343" y="12"/>
                </a:lnTo>
                <a:lnTo>
                  <a:pt x="322" y="17"/>
                </a:lnTo>
                <a:lnTo>
                  <a:pt x="300" y="23"/>
                </a:lnTo>
                <a:lnTo>
                  <a:pt x="280" y="31"/>
                </a:lnTo>
                <a:lnTo>
                  <a:pt x="261" y="39"/>
                </a:lnTo>
                <a:lnTo>
                  <a:pt x="241" y="48"/>
                </a:lnTo>
                <a:lnTo>
                  <a:pt x="223" y="58"/>
                </a:lnTo>
                <a:lnTo>
                  <a:pt x="205" y="68"/>
                </a:lnTo>
                <a:lnTo>
                  <a:pt x="187" y="80"/>
                </a:lnTo>
                <a:lnTo>
                  <a:pt x="170" y="92"/>
                </a:lnTo>
                <a:lnTo>
                  <a:pt x="154" y="106"/>
                </a:lnTo>
                <a:lnTo>
                  <a:pt x="138" y="119"/>
                </a:lnTo>
                <a:lnTo>
                  <a:pt x="123" y="134"/>
                </a:lnTo>
                <a:lnTo>
                  <a:pt x="109" y="149"/>
                </a:lnTo>
                <a:lnTo>
                  <a:pt x="96" y="165"/>
                </a:lnTo>
                <a:lnTo>
                  <a:pt x="84" y="181"/>
                </a:lnTo>
                <a:lnTo>
                  <a:pt x="72" y="198"/>
                </a:lnTo>
                <a:lnTo>
                  <a:pt x="61" y="215"/>
                </a:lnTo>
                <a:lnTo>
                  <a:pt x="50" y="234"/>
                </a:lnTo>
                <a:lnTo>
                  <a:pt x="41" y="253"/>
                </a:lnTo>
                <a:lnTo>
                  <a:pt x="33" y="272"/>
                </a:lnTo>
                <a:lnTo>
                  <a:pt x="26" y="292"/>
                </a:lnTo>
                <a:lnTo>
                  <a:pt x="18" y="312"/>
                </a:lnTo>
                <a:lnTo>
                  <a:pt x="13" y="332"/>
                </a:lnTo>
                <a:lnTo>
                  <a:pt x="9" y="354"/>
                </a:lnTo>
                <a:lnTo>
                  <a:pt x="4" y="375"/>
                </a:lnTo>
                <a:lnTo>
                  <a:pt x="2" y="397"/>
                </a:lnTo>
                <a:lnTo>
                  <a:pt x="0" y="419"/>
                </a:lnTo>
                <a:lnTo>
                  <a:pt x="0" y="442"/>
                </a:lnTo>
                <a:lnTo>
                  <a:pt x="0" y="465"/>
                </a:lnTo>
                <a:lnTo>
                  <a:pt x="2" y="489"/>
                </a:lnTo>
                <a:lnTo>
                  <a:pt x="5" y="512"/>
                </a:lnTo>
                <a:lnTo>
                  <a:pt x="9" y="534"/>
                </a:lnTo>
                <a:lnTo>
                  <a:pt x="14" y="557"/>
                </a:lnTo>
                <a:lnTo>
                  <a:pt x="20" y="579"/>
                </a:lnTo>
                <a:lnTo>
                  <a:pt x="27" y="601"/>
                </a:lnTo>
                <a:lnTo>
                  <a:pt x="35" y="621"/>
                </a:lnTo>
                <a:lnTo>
                  <a:pt x="44" y="641"/>
                </a:lnTo>
                <a:lnTo>
                  <a:pt x="55" y="662"/>
                </a:lnTo>
                <a:lnTo>
                  <a:pt x="65" y="681"/>
                </a:lnTo>
                <a:lnTo>
                  <a:pt x="77" y="699"/>
                </a:lnTo>
                <a:lnTo>
                  <a:pt x="89" y="718"/>
                </a:lnTo>
                <a:lnTo>
                  <a:pt x="103" y="735"/>
                </a:lnTo>
                <a:lnTo>
                  <a:pt x="117" y="752"/>
                </a:lnTo>
                <a:lnTo>
                  <a:pt x="132" y="768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198" y="824"/>
                </a:lnTo>
                <a:lnTo>
                  <a:pt x="217" y="836"/>
                </a:lnTo>
                <a:lnTo>
                  <a:pt x="236" y="847"/>
                </a:lnTo>
                <a:lnTo>
                  <a:pt x="255" y="857"/>
                </a:lnTo>
                <a:lnTo>
                  <a:pt x="276" y="867"/>
                </a:lnTo>
                <a:lnTo>
                  <a:pt x="296" y="875"/>
                </a:lnTo>
                <a:lnTo>
                  <a:pt x="316" y="882"/>
                </a:lnTo>
                <a:lnTo>
                  <a:pt x="338" y="888"/>
                </a:lnTo>
                <a:lnTo>
                  <a:pt x="359" y="894"/>
                </a:lnTo>
                <a:lnTo>
                  <a:pt x="382" y="898"/>
                </a:lnTo>
                <a:lnTo>
                  <a:pt x="404" y="901"/>
                </a:lnTo>
                <a:lnTo>
                  <a:pt x="427" y="902"/>
                </a:lnTo>
                <a:lnTo>
                  <a:pt x="450" y="903"/>
                </a:lnTo>
                <a:lnTo>
                  <a:pt x="474" y="902"/>
                </a:lnTo>
                <a:lnTo>
                  <a:pt x="497" y="901"/>
                </a:lnTo>
                <a:lnTo>
                  <a:pt x="519" y="898"/>
                </a:lnTo>
                <a:lnTo>
                  <a:pt x="542" y="894"/>
                </a:lnTo>
                <a:lnTo>
                  <a:pt x="563" y="888"/>
                </a:lnTo>
                <a:lnTo>
                  <a:pt x="584" y="883"/>
                </a:lnTo>
                <a:lnTo>
                  <a:pt x="606" y="875"/>
                </a:lnTo>
                <a:lnTo>
                  <a:pt x="626" y="868"/>
                </a:lnTo>
                <a:lnTo>
                  <a:pt x="647" y="858"/>
                </a:lnTo>
                <a:lnTo>
                  <a:pt x="666" y="848"/>
                </a:lnTo>
                <a:lnTo>
                  <a:pt x="685" y="838"/>
                </a:lnTo>
                <a:lnTo>
                  <a:pt x="704" y="826"/>
                </a:lnTo>
                <a:lnTo>
                  <a:pt x="721" y="813"/>
                </a:lnTo>
                <a:lnTo>
                  <a:pt x="738" y="799"/>
                </a:lnTo>
                <a:lnTo>
                  <a:pt x="755" y="785"/>
                </a:lnTo>
                <a:lnTo>
                  <a:pt x="770" y="770"/>
                </a:lnTo>
                <a:lnTo>
                  <a:pt x="785" y="754"/>
                </a:lnTo>
                <a:lnTo>
                  <a:pt x="799" y="738"/>
                </a:lnTo>
                <a:lnTo>
                  <a:pt x="813" y="721"/>
                </a:lnTo>
                <a:lnTo>
                  <a:pt x="826" y="703"/>
                </a:lnTo>
                <a:lnTo>
                  <a:pt x="838" y="684"/>
                </a:lnTo>
                <a:lnTo>
                  <a:pt x="848" y="665"/>
                </a:lnTo>
                <a:lnTo>
                  <a:pt x="858" y="646"/>
                </a:lnTo>
                <a:lnTo>
                  <a:pt x="868" y="626"/>
                </a:lnTo>
                <a:lnTo>
                  <a:pt x="875" y="605"/>
                </a:lnTo>
                <a:lnTo>
                  <a:pt x="883" y="585"/>
                </a:lnTo>
                <a:lnTo>
                  <a:pt x="889" y="563"/>
                </a:lnTo>
                <a:lnTo>
                  <a:pt x="893" y="541"/>
                </a:lnTo>
                <a:lnTo>
                  <a:pt x="898" y="518"/>
                </a:lnTo>
                <a:lnTo>
                  <a:pt x="901" y="495"/>
                </a:lnTo>
                <a:lnTo>
                  <a:pt x="902" y="473"/>
                </a:lnTo>
                <a:lnTo>
                  <a:pt x="903" y="449"/>
                </a:lnTo>
                <a:lnTo>
                  <a:pt x="902" y="427"/>
                </a:lnTo>
                <a:lnTo>
                  <a:pt x="901" y="403"/>
                </a:lnTo>
                <a:lnTo>
                  <a:pt x="898" y="381"/>
                </a:lnTo>
                <a:lnTo>
                  <a:pt x="893" y="359"/>
                </a:lnTo>
                <a:lnTo>
                  <a:pt x="889" y="337"/>
                </a:lnTo>
                <a:lnTo>
                  <a:pt x="883" y="316"/>
                </a:lnTo>
                <a:lnTo>
                  <a:pt x="875" y="295"/>
                </a:lnTo>
                <a:lnTo>
                  <a:pt x="868" y="274"/>
                </a:lnTo>
                <a:lnTo>
                  <a:pt x="858" y="254"/>
                </a:lnTo>
                <a:lnTo>
                  <a:pt x="848" y="235"/>
                </a:lnTo>
                <a:lnTo>
                  <a:pt x="838" y="217"/>
                </a:lnTo>
                <a:lnTo>
                  <a:pt x="826" y="198"/>
                </a:lnTo>
                <a:lnTo>
                  <a:pt x="813" y="180"/>
                </a:lnTo>
                <a:lnTo>
                  <a:pt x="800" y="163"/>
                </a:lnTo>
                <a:lnTo>
                  <a:pt x="786" y="147"/>
                </a:lnTo>
                <a:lnTo>
                  <a:pt x="771" y="132"/>
                </a:lnTo>
                <a:lnTo>
                  <a:pt x="755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5" y="65"/>
                </a:lnTo>
                <a:lnTo>
                  <a:pt x="667" y="53"/>
                </a:lnTo>
                <a:lnTo>
                  <a:pt x="647" y="44"/>
                </a:lnTo>
                <a:lnTo>
                  <a:pt x="627" y="35"/>
                </a:lnTo>
                <a:lnTo>
                  <a:pt x="607" y="27"/>
                </a:lnTo>
                <a:lnTo>
                  <a:pt x="586" y="20"/>
                </a:lnTo>
                <a:lnTo>
                  <a:pt x="564" y="14"/>
                </a:lnTo>
                <a:lnTo>
                  <a:pt x="543" y="8"/>
                </a:lnTo>
                <a:lnTo>
                  <a:pt x="520" y="5"/>
                </a:lnTo>
                <a:lnTo>
                  <a:pt x="498" y="2"/>
                </a:lnTo>
                <a:lnTo>
                  <a:pt x="475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799833" y="5364800"/>
            <a:ext cx="592334" cy="592334"/>
            <a:chOff x="11593513" y="782638"/>
            <a:chExt cx="285750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9" name="Freeform 300"/>
            <p:cNvSpPr/>
            <p:nvPr/>
          </p:nvSpPr>
          <p:spPr bwMode="auto">
            <a:xfrm>
              <a:off x="11726863" y="1038225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1 w 120"/>
                <a:gd name="T7" fmla="*/ 29 h 30"/>
                <a:gd name="T8" fmla="*/ 114 w 120"/>
                <a:gd name="T9" fmla="*/ 28 h 30"/>
                <a:gd name="T10" fmla="*/ 116 w 120"/>
                <a:gd name="T11" fmla="*/ 26 h 30"/>
                <a:gd name="T12" fmla="*/ 118 w 120"/>
                <a:gd name="T13" fmla="*/ 24 h 30"/>
                <a:gd name="T14" fmla="*/ 119 w 120"/>
                <a:gd name="T15" fmla="*/ 22 h 30"/>
                <a:gd name="T16" fmla="*/ 120 w 120"/>
                <a:gd name="T17" fmla="*/ 19 h 30"/>
                <a:gd name="T18" fmla="*/ 120 w 120"/>
                <a:gd name="T19" fmla="*/ 15 h 30"/>
                <a:gd name="T20" fmla="*/ 120 w 120"/>
                <a:gd name="T21" fmla="*/ 13 h 30"/>
                <a:gd name="T22" fmla="*/ 119 w 120"/>
                <a:gd name="T23" fmla="*/ 10 h 30"/>
                <a:gd name="T24" fmla="*/ 118 w 120"/>
                <a:gd name="T25" fmla="*/ 8 h 30"/>
                <a:gd name="T26" fmla="*/ 116 w 120"/>
                <a:gd name="T27" fmla="*/ 5 h 30"/>
                <a:gd name="T28" fmla="*/ 114 w 120"/>
                <a:gd name="T29" fmla="*/ 4 h 30"/>
                <a:gd name="T30" fmla="*/ 111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1 h 30"/>
                <a:gd name="T40" fmla="*/ 9 w 120"/>
                <a:gd name="T41" fmla="*/ 1 h 30"/>
                <a:gd name="T42" fmla="*/ 7 w 120"/>
                <a:gd name="T43" fmla="*/ 4 h 30"/>
                <a:gd name="T44" fmla="*/ 5 w 120"/>
                <a:gd name="T45" fmla="*/ 5 h 30"/>
                <a:gd name="T46" fmla="*/ 2 w 120"/>
                <a:gd name="T47" fmla="*/ 8 h 30"/>
                <a:gd name="T48" fmla="*/ 1 w 120"/>
                <a:gd name="T49" fmla="*/ 10 h 30"/>
                <a:gd name="T50" fmla="*/ 0 w 120"/>
                <a:gd name="T51" fmla="*/ 13 h 30"/>
                <a:gd name="T52" fmla="*/ 0 w 120"/>
                <a:gd name="T53" fmla="*/ 15 h 30"/>
                <a:gd name="T54" fmla="*/ 0 w 120"/>
                <a:gd name="T55" fmla="*/ 19 h 30"/>
                <a:gd name="T56" fmla="*/ 1 w 120"/>
                <a:gd name="T57" fmla="*/ 22 h 30"/>
                <a:gd name="T58" fmla="*/ 2 w 120"/>
                <a:gd name="T59" fmla="*/ 24 h 30"/>
                <a:gd name="T60" fmla="*/ 5 w 120"/>
                <a:gd name="T61" fmla="*/ 26 h 30"/>
                <a:gd name="T62" fmla="*/ 7 w 120"/>
                <a:gd name="T63" fmla="*/ 28 h 30"/>
                <a:gd name="T64" fmla="*/ 9 w 120"/>
                <a:gd name="T65" fmla="*/ 29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19" y="10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301"/>
            <p:cNvSpPr/>
            <p:nvPr/>
          </p:nvSpPr>
          <p:spPr bwMode="auto">
            <a:xfrm>
              <a:off x="11669713" y="811213"/>
              <a:ext cx="9525" cy="161925"/>
            </a:xfrm>
            <a:custGeom>
              <a:avLst/>
              <a:gdLst>
                <a:gd name="T0" fmla="*/ 15 w 31"/>
                <a:gd name="T1" fmla="*/ 510 h 510"/>
                <a:gd name="T2" fmla="*/ 18 w 31"/>
                <a:gd name="T3" fmla="*/ 510 h 510"/>
                <a:gd name="T4" fmla="*/ 21 w 31"/>
                <a:gd name="T5" fmla="*/ 509 h 510"/>
                <a:gd name="T6" fmla="*/ 23 w 31"/>
                <a:gd name="T7" fmla="*/ 507 h 510"/>
                <a:gd name="T8" fmla="*/ 25 w 31"/>
                <a:gd name="T9" fmla="*/ 506 h 510"/>
                <a:gd name="T10" fmla="*/ 27 w 31"/>
                <a:gd name="T11" fmla="*/ 504 h 510"/>
                <a:gd name="T12" fmla="*/ 29 w 31"/>
                <a:gd name="T13" fmla="*/ 500 h 510"/>
                <a:gd name="T14" fmla="*/ 30 w 31"/>
                <a:gd name="T15" fmla="*/ 498 h 510"/>
                <a:gd name="T16" fmla="*/ 31 w 31"/>
                <a:gd name="T17" fmla="*/ 495 h 510"/>
                <a:gd name="T18" fmla="*/ 31 w 31"/>
                <a:gd name="T19" fmla="*/ 15 h 510"/>
                <a:gd name="T20" fmla="*/ 30 w 31"/>
                <a:gd name="T21" fmla="*/ 12 h 510"/>
                <a:gd name="T22" fmla="*/ 29 w 31"/>
                <a:gd name="T23" fmla="*/ 9 h 510"/>
                <a:gd name="T24" fmla="*/ 27 w 31"/>
                <a:gd name="T25" fmla="*/ 7 h 510"/>
                <a:gd name="T26" fmla="*/ 25 w 31"/>
                <a:gd name="T27" fmla="*/ 5 h 510"/>
                <a:gd name="T28" fmla="*/ 23 w 31"/>
                <a:gd name="T29" fmla="*/ 3 h 510"/>
                <a:gd name="T30" fmla="*/ 21 w 31"/>
                <a:gd name="T31" fmla="*/ 1 h 510"/>
                <a:gd name="T32" fmla="*/ 18 w 31"/>
                <a:gd name="T33" fmla="*/ 0 h 510"/>
                <a:gd name="T34" fmla="*/ 15 w 31"/>
                <a:gd name="T35" fmla="*/ 0 h 510"/>
                <a:gd name="T36" fmla="*/ 13 w 31"/>
                <a:gd name="T37" fmla="*/ 0 h 510"/>
                <a:gd name="T38" fmla="*/ 9 w 31"/>
                <a:gd name="T39" fmla="*/ 1 h 510"/>
                <a:gd name="T40" fmla="*/ 7 w 31"/>
                <a:gd name="T41" fmla="*/ 3 h 510"/>
                <a:gd name="T42" fmla="*/ 5 w 31"/>
                <a:gd name="T43" fmla="*/ 5 h 510"/>
                <a:gd name="T44" fmla="*/ 3 w 31"/>
                <a:gd name="T45" fmla="*/ 7 h 510"/>
                <a:gd name="T46" fmla="*/ 2 w 31"/>
                <a:gd name="T47" fmla="*/ 9 h 510"/>
                <a:gd name="T48" fmla="*/ 1 w 31"/>
                <a:gd name="T49" fmla="*/ 12 h 510"/>
                <a:gd name="T50" fmla="*/ 0 w 31"/>
                <a:gd name="T51" fmla="*/ 15 h 510"/>
                <a:gd name="T52" fmla="*/ 0 w 31"/>
                <a:gd name="T53" fmla="*/ 495 h 510"/>
                <a:gd name="T54" fmla="*/ 1 w 31"/>
                <a:gd name="T55" fmla="*/ 498 h 510"/>
                <a:gd name="T56" fmla="*/ 2 w 31"/>
                <a:gd name="T57" fmla="*/ 500 h 510"/>
                <a:gd name="T58" fmla="*/ 3 w 31"/>
                <a:gd name="T59" fmla="*/ 504 h 510"/>
                <a:gd name="T60" fmla="*/ 5 w 31"/>
                <a:gd name="T61" fmla="*/ 506 h 510"/>
                <a:gd name="T62" fmla="*/ 7 w 31"/>
                <a:gd name="T63" fmla="*/ 507 h 510"/>
                <a:gd name="T64" fmla="*/ 9 w 31"/>
                <a:gd name="T65" fmla="*/ 509 h 510"/>
                <a:gd name="T66" fmla="*/ 13 w 31"/>
                <a:gd name="T67" fmla="*/ 510 h 510"/>
                <a:gd name="T68" fmla="*/ 15 w 31"/>
                <a:gd name="T6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10">
                  <a:moveTo>
                    <a:pt x="15" y="510"/>
                  </a:moveTo>
                  <a:lnTo>
                    <a:pt x="18" y="510"/>
                  </a:lnTo>
                  <a:lnTo>
                    <a:pt x="21" y="509"/>
                  </a:lnTo>
                  <a:lnTo>
                    <a:pt x="23" y="507"/>
                  </a:lnTo>
                  <a:lnTo>
                    <a:pt x="25" y="506"/>
                  </a:lnTo>
                  <a:lnTo>
                    <a:pt x="27" y="504"/>
                  </a:lnTo>
                  <a:lnTo>
                    <a:pt x="29" y="500"/>
                  </a:lnTo>
                  <a:lnTo>
                    <a:pt x="30" y="498"/>
                  </a:lnTo>
                  <a:lnTo>
                    <a:pt x="31" y="495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5"/>
                  </a:lnTo>
                  <a:lnTo>
                    <a:pt x="1" y="498"/>
                  </a:lnTo>
                  <a:lnTo>
                    <a:pt x="2" y="500"/>
                  </a:lnTo>
                  <a:lnTo>
                    <a:pt x="3" y="504"/>
                  </a:lnTo>
                  <a:lnTo>
                    <a:pt x="5" y="506"/>
                  </a:lnTo>
                  <a:lnTo>
                    <a:pt x="7" y="507"/>
                  </a:lnTo>
                  <a:lnTo>
                    <a:pt x="9" y="509"/>
                  </a:lnTo>
                  <a:lnTo>
                    <a:pt x="13" y="510"/>
                  </a:lnTo>
                  <a:lnTo>
                    <a:pt x="15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302"/>
            <p:cNvSpPr>
              <a:spLocks noEditPoints="1"/>
            </p:cNvSpPr>
            <p:nvPr/>
          </p:nvSpPr>
          <p:spPr bwMode="auto">
            <a:xfrm>
              <a:off x="11660188" y="982663"/>
              <a:ext cx="38100" cy="65088"/>
            </a:xfrm>
            <a:custGeom>
              <a:avLst/>
              <a:gdLst>
                <a:gd name="T0" fmla="*/ 91 w 121"/>
                <a:gd name="T1" fmla="*/ 179 h 209"/>
                <a:gd name="T2" fmla="*/ 30 w 121"/>
                <a:gd name="T3" fmla="*/ 179 h 209"/>
                <a:gd name="T4" fmla="*/ 30 w 121"/>
                <a:gd name="T5" fmla="*/ 30 h 209"/>
                <a:gd name="T6" fmla="*/ 91 w 121"/>
                <a:gd name="T7" fmla="*/ 30 h 209"/>
                <a:gd name="T8" fmla="*/ 91 w 121"/>
                <a:gd name="T9" fmla="*/ 179 h 209"/>
                <a:gd name="T10" fmla="*/ 106 w 121"/>
                <a:gd name="T11" fmla="*/ 0 h 209"/>
                <a:gd name="T12" fmla="*/ 15 w 121"/>
                <a:gd name="T13" fmla="*/ 0 h 209"/>
                <a:gd name="T14" fmla="*/ 13 w 121"/>
                <a:gd name="T15" fmla="*/ 0 h 209"/>
                <a:gd name="T16" fmla="*/ 9 w 121"/>
                <a:gd name="T17" fmla="*/ 1 h 209"/>
                <a:gd name="T18" fmla="*/ 7 w 121"/>
                <a:gd name="T19" fmla="*/ 2 h 209"/>
                <a:gd name="T20" fmla="*/ 5 w 121"/>
                <a:gd name="T21" fmla="*/ 4 h 209"/>
                <a:gd name="T22" fmla="*/ 3 w 121"/>
                <a:gd name="T23" fmla="*/ 6 h 209"/>
                <a:gd name="T24" fmla="*/ 1 w 121"/>
                <a:gd name="T25" fmla="*/ 10 h 209"/>
                <a:gd name="T26" fmla="*/ 1 w 121"/>
                <a:gd name="T27" fmla="*/ 12 h 209"/>
                <a:gd name="T28" fmla="*/ 0 w 121"/>
                <a:gd name="T29" fmla="*/ 15 h 209"/>
                <a:gd name="T30" fmla="*/ 0 w 121"/>
                <a:gd name="T31" fmla="*/ 194 h 209"/>
                <a:gd name="T32" fmla="*/ 1 w 121"/>
                <a:gd name="T33" fmla="*/ 198 h 209"/>
                <a:gd name="T34" fmla="*/ 1 w 121"/>
                <a:gd name="T35" fmla="*/ 201 h 209"/>
                <a:gd name="T36" fmla="*/ 3 w 121"/>
                <a:gd name="T37" fmla="*/ 203 h 209"/>
                <a:gd name="T38" fmla="*/ 5 w 121"/>
                <a:gd name="T39" fmla="*/ 205 h 209"/>
                <a:gd name="T40" fmla="*/ 7 w 121"/>
                <a:gd name="T41" fmla="*/ 207 h 209"/>
                <a:gd name="T42" fmla="*/ 9 w 121"/>
                <a:gd name="T43" fmla="*/ 208 h 209"/>
                <a:gd name="T44" fmla="*/ 13 w 121"/>
                <a:gd name="T45" fmla="*/ 209 h 209"/>
                <a:gd name="T46" fmla="*/ 15 w 121"/>
                <a:gd name="T47" fmla="*/ 209 h 209"/>
                <a:gd name="T48" fmla="*/ 106 w 121"/>
                <a:gd name="T49" fmla="*/ 209 h 209"/>
                <a:gd name="T50" fmla="*/ 108 w 121"/>
                <a:gd name="T51" fmla="*/ 209 h 209"/>
                <a:gd name="T52" fmla="*/ 111 w 121"/>
                <a:gd name="T53" fmla="*/ 208 h 209"/>
                <a:gd name="T54" fmla="*/ 113 w 121"/>
                <a:gd name="T55" fmla="*/ 207 h 209"/>
                <a:gd name="T56" fmla="*/ 116 w 121"/>
                <a:gd name="T57" fmla="*/ 205 h 209"/>
                <a:gd name="T58" fmla="*/ 117 w 121"/>
                <a:gd name="T59" fmla="*/ 203 h 209"/>
                <a:gd name="T60" fmla="*/ 119 w 121"/>
                <a:gd name="T61" fmla="*/ 201 h 209"/>
                <a:gd name="T62" fmla="*/ 119 w 121"/>
                <a:gd name="T63" fmla="*/ 198 h 209"/>
                <a:gd name="T64" fmla="*/ 121 w 121"/>
                <a:gd name="T65" fmla="*/ 194 h 209"/>
                <a:gd name="T66" fmla="*/ 121 w 121"/>
                <a:gd name="T67" fmla="*/ 15 h 209"/>
                <a:gd name="T68" fmla="*/ 119 w 121"/>
                <a:gd name="T69" fmla="*/ 12 h 209"/>
                <a:gd name="T70" fmla="*/ 119 w 121"/>
                <a:gd name="T71" fmla="*/ 10 h 209"/>
                <a:gd name="T72" fmla="*/ 117 w 121"/>
                <a:gd name="T73" fmla="*/ 6 h 209"/>
                <a:gd name="T74" fmla="*/ 116 w 121"/>
                <a:gd name="T75" fmla="*/ 4 h 209"/>
                <a:gd name="T76" fmla="*/ 113 w 121"/>
                <a:gd name="T77" fmla="*/ 2 h 209"/>
                <a:gd name="T78" fmla="*/ 111 w 121"/>
                <a:gd name="T79" fmla="*/ 1 h 209"/>
                <a:gd name="T80" fmla="*/ 108 w 121"/>
                <a:gd name="T81" fmla="*/ 0 h 209"/>
                <a:gd name="T82" fmla="*/ 106 w 121"/>
                <a:gd name="T83" fmla="*/ 0 h 209"/>
                <a:gd name="T84" fmla="*/ 106 w 121"/>
                <a:gd name="T8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209">
                  <a:moveTo>
                    <a:pt x="91" y="179"/>
                  </a:moveTo>
                  <a:lnTo>
                    <a:pt x="30" y="179"/>
                  </a:lnTo>
                  <a:lnTo>
                    <a:pt x="30" y="30"/>
                  </a:lnTo>
                  <a:lnTo>
                    <a:pt x="91" y="30"/>
                  </a:lnTo>
                  <a:lnTo>
                    <a:pt x="91" y="179"/>
                  </a:lnTo>
                  <a:close/>
                  <a:moveTo>
                    <a:pt x="10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1" y="201"/>
                  </a:lnTo>
                  <a:lnTo>
                    <a:pt x="3" y="203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9" y="208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06" y="209"/>
                  </a:lnTo>
                  <a:lnTo>
                    <a:pt x="108" y="209"/>
                  </a:lnTo>
                  <a:lnTo>
                    <a:pt x="111" y="208"/>
                  </a:lnTo>
                  <a:lnTo>
                    <a:pt x="113" y="207"/>
                  </a:lnTo>
                  <a:lnTo>
                    <a:pt x="116" y="205"/>
                  </a:lnTo>
                  <a:lnTo>
                    <a:pt x="117" y="203"/>
                  </a:lnTo>
                  <a:lnTo>
                    <a:pt x="119" y="201"/>
                  </a:lnTo>
                  <a:lnTo>
                    <a:pt x="119" y="198"/>
                  </a:lnTo>
                  <a:lnTo>
                    <a:pt x="121" y="194"/>
                  </a:lnTo>
                  <a:lnTo>
                    <a:pt x="121" y="15"/>
                  </a:lnTo>
                  <a:lnTo>
                    <a:pt x="119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3" y="2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303"/>
            <p:cNvSpPr/>
            <p:nvPr/>
          </p:nvSpPr>
          <p:spPr bwMode="auto">
            <a:xfrm>
              <a:off x="11736388" y="906463"/>
              <a:ext cx="9525" cy="114300"/>
            </a:xfrm>
            <a:custGeom>
              <a:avLst/>
              <a:gdLst>
                <a:gd name="T0" fmla="*/ 15 w 30"/>
                <a:gd name="T1" fmla="*/ 360 h 360"/>
                <a:gd name="T2" fmla="*/ 18 w 30"/>
                <a:gd name="T3" fmla="*/ 360 h 360"/>
                <a:gd name="T4" fmla="*/ 20 w 30"/>
                <a:gd name="T5" fmla="*/ 358 h 360"/>
                <a:gd name="T6" fmla="*/ 24 w 30"/>
                <a:gd name="T7" fmla="*/ 357 h 360"/>
                <a:gd name="T8" fmla="*/ 26 w 30"/>
                <a:gd name="T9" fmla="*/ 355 h 360"/>
                <a:gd name="T10" fmla="*/ 28 w 30"/>
                <a:gd name="T11" fmla="*/ 353 h 360"/>
                <a:gd name="T12" fmla="*/ 29 w 30"/>
                <a:gd name="T13" fmla="*/ 351 h 360"/>
                <a:gd name="T14" fmla="*/ 30 w 30"/>
                <a:gd name="T15" fmla="*/ 348 h 360"/>
                <a:gd name="T16" fmla="*/ 30 w 30"/>
                <a:gd name="T17" fmla="*/ 345 h 360"/>
                <a:gd name="T18" fmla="*/ 30 w 30"/>
                <a:gd name="T19" fmla="*/ 14 h 360"/>
                <a:gd name="T20" fmla="*/ 30 w 30"/>
                <a:gd name="T21" fmla="*/ 12 h 360"/>
                <a:gd name="T22" fmla="*/ 29 w 30"/>
                <a:gd name="T23" fmla="*/ 9 h 360"/>
                <a:gd name="T24" fmla="*/ 28 w 30"/>
                <a:gd name="T25" fmla="*/ 7 h 360"/>
                <a:gd name="T26" fmla="*/ 26 w 30"/>
                <a:gd name="T27" fmla="*/ 4 h 360"/>
                <a:gd name="T28" fmla="*/ 24 w 30"/>
                <a:gd name="T29" fmla="*/ 3 h 360"/>
                <a:gd name="T30" fmla="*/ 20 w 30"/>
                <a:gd name="T31" fmla="*/ 1 h 360"/>
                <a:gd name="T32" fmla="*/ 18 w 30"/>
                <a:gd name="T33" fmla="*/ 1 h 360"/>
                <a:gd name="T34" fmla="*/ 15 w 30"/>
                <a:gd name="T35" fmla="*/ 0 h 360"/>
                <a:gd name="T36" fmla="*/ 12 w 30"/>
                <a:gd name="T37" fmla="*/ 1 h 360"/>
                <a:gd name="T38" fmla="*/ 10 w 30"/>
                <a:gd name="T39" fmla="*/ 1 h 360"/>
                <a:gd name="T40" fmla="*/ 7 w 30"/>
                <a:gd name="T41" fmla="*/ 3 h 360"/>
                <a:gd name="T42" fmla="*/ 4 w 30"/>
                <a:gd name="T43" fmla="*/ 4 h 360"/>
                <a:gd name="T44" fmla="*/ 2 w 30"/>
                <a:gd name="T45" fmla="*/ 7 h 360"/>
                <a:gd name="T46" fmla="*/ 1 w 30"/>
                <a:gd name="T47" fmla="*/ 9 h 360"/>
                <a:gd name="T48" fmla="*/ 0 w 30"/>
                <a:gd name="T49" fmla="*/ 12 h 360"/>
                <a:gd name="T50" fmla="*/ 0 w 30"/>
                <a:gd name="T51" fmla="*/ 14 h 360"/>
                <a:gd name="T52" fmla="*/ 0 w 30"/>
                <a:gd name="T53" fmla="*/ 345 h 360"/>
                <a:gd name="T54" fmla="*/ 0 w 30"/>
                <a:gd name="T55" fmla="*/ 348 h 360"/>
                <a:gd name="T56" fmla="*/ 1 w 30"/>
                <a:gd name="T57" fmla="*/ 351 h 360"/>
                <a:gd name="T58" fmla="*/ 2 w 30"/>
                <a:gd name="T59" fmla="*/ 353 h 360"/>
                <a:gd name="T60" fmla="*/ 4 w 30"/>
                <a:gd name="T61" fmla="*/ 355 h 360"/>
                <a:gd name="T62" fmla="*/ 7 w 30"/>
                <a:gd name="T63" fmla="*/ 357 h 360"/>
                <a:gd name="T64" fmla="*/ 10 w 30"/>
                <a:gd name="T65" fmla="*/ 358 h 360"/>
                <a:gd name="T66" fmla="*/ 12 w 30"/>
                <a:gd name="T67" fmla="*/ 360 h 360"/>
                <a:gd name="T68" fmla="*/ 15 w 30"/>
                <a:gd name="T6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360">
                  <a:moveTo>
                    <a:pt x="15" y="360"/>
                  </a:moveTo>
                  <a:lnTo>
                    <a:pt x="18" y="360"/>
                  </a:lnTo>
                  <a:lnTo>
                    <a:pt x="20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5"/>
                  </a:lnTo>
                  <a:lnTo>
                    <a:pt x="7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304"/>
            <p:cNvSpPr/>
            <p:nvPr/>
          </p:nvSpPr>
          <p:spPr bwMode="auto">
            <a:xfrm>
              <a:off x="11612563" y="858838"/>
              <a:ext cx="9525" cy="169863"/>
            </a:xfrm>
            <a:custGeom>
              <a:avLst/>
              <a:gdLst>
                <a:gd name="T0" fmla="*/ 15 w 30"/>
                <a:gd name="T1" fmla="*/ 0 h 539"/>
                <a:gd name="T2" fmla="*/ 12 w 30"/>
                <a:gd name="T3" fmla="*/ 0 h 539"/>
                <a:gd name="T4" fmla="*/ 10 w 30"/>
                <a:gd name="T5" fmla="*/ 1 h 539"/>
                <a:gd name="T6" fmla="*/ 7 w 30"/>
                <a:gd name="T7" fmla="*/ 2 h 539"/>
                <a:gd name="T8" fmla="*/ 4 w 30"/>
                <a:gd name="T9" fmla="*/ 4 h 539"/>
                <a:gd name="T10" fmla="*/ 2 w 30"/>
                <a:gd name="T11" fmla="*/ 6 h 539"/>
                <a:gd name="T12" fmla="*/ 1 w 30"/>
                <a:gd name="T13" fmla="*/ 10 h 539"/>
                <a:gd name="T14" fmla="*/ 0 w 30"/>
                <a:gd name="T15" fmla="*/ 12 h 539"/>
                <a:gd name="T16" fmla="*/ 0 w 30"/>
                <a:gd name="T17" fmla="*/ 15 h 539"/>
                <a:gd name="T18" fmla="*/ 0 w 30"/>
                <a:gd name="T19" fmla="*/ 525 h 539"/>
                <a:gd name="T20" fmla="*/ 0 w 30"/>
                <a:gd name="T21" fmla="*/ 528 h 539"/>
                <a:gd name="T22" fmla="*/ 1 w 30"/>
                <a:gd name="T23" fmla="*/ 531 h 539"/>
                <a:gd name="T24" fmla="*/ 2 w 30"/>
                <a:gd name="T25" fmla="*/ 533 h 539"/>
                <a:gd name="T26" fmla="*/ 4 w 30"/>
                <a:gd name="T27" fmla="*/ 535 h 539"/>
                <a:gd name="T28" fmla="*/ 7 w 30"/>
                <a:gd name="T29" fmla="*/ 537 h 539"/>
                <a:gd name="T30" fmla="*/ 10 w 30"/>
                <a:gd name="T31" fmla="*/ 538 h 539"/>
                <a:gd name="T32" fmla="*/ 12 w 30"/>
                <a:gd name="T33" fmla="*/ 539 h 539"/>
                <a:gd name="T34" fmla="*/ 15 w 30"/>
                <a:gd name="T35" fmla="*/ 539 h 539"/>
                <a:gd name="T36" fmla="*/ 18 w 30"/>
                <a:gd name="T37" fmla="*/ 539 h 539"/>
                <a:gd name="T38" fmla="*/ 22 w 30"/>
                <a:gd name="T39" fmla="*/ 538 h 539"/>
                <a:gd name="T40" fmla="*/ 24 w 30"/>
                <a:gd name="T41" fmla="*/ 537 h 539"/>
                <a:gd name="T42" fmla="*/ 26 w 30"/>
                <a:gd name="T43" fmla="*/ 535 h 539"/>
                <a:gd name="T44" fmla="*/ 28 w 30"/>
                <a:gd name="T45" fmla="*/ 533 h 539"/>
                <a:gd name="T46" fmla="*/ 29 w 30"/>
                <a:gd name="T47" fmla="*/ 531 h 539"/>
                <a:gd name="T48" fmla="*/ 30 w 30"/>
                <a:gd name="T49" fmla="*/ 528 h 539"/>
                <a:gd name="T50" fmla="*/ 30 w 30"/>
                <a:gd name="T51" fmla="*/ 525 h 539"/>
                <a:gd name="T52" fmla="*/ 30 w 30"/>
                <a:gd name="T53" fmla="*/ 15 h 539"/>
                <a:gd name="T54" fmla="*/ 30 w 30"/>
                <a:gd name="T55" fmla="*/ 12 h 539"/>
                <a:gd name="T56" fmla="*/ 29 w 30"/>
                <a:gd name="T57" fmla="*/ 10 h 539"/>
                <a:gd name="T58" fmla="*/ 28 w 30"/>
                <a:gd name="T59" fmla="*/ 6 h 539"/>
                <a:gd name="T60" fmla="*/ 26 w 30"/>
                <a:gd name="T61" fmla="*/ 4 h 539"/>
                <a:gd name="T62" fmla="*/ 24 w 30"/>
                <a:gd name="T63" fmla="*/ 2 h 539"/>
                <a:gd name="T64" fmla="*/ 22 w 30"/>
                <a:gd name="T65" fmla="*/ 1 h 539"/>
                <a:gd name="T66" fmla="*/ 18 w 30"/>
                <a:gd name="T67" fmla="*/ 0 h 539"/>
                <a:gd name="T68" fmla="*/ 15 w 30"/>
                <a:gd name="T6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539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25"/>
                  </a:lnTo>
                  <a:lnTo>
                    <a:pt x="0" y="528"/>
                  </a:lnTo>
                  <a:lnTo>
                    <a:pt x="1" y="531"/>
                  </a:lnTo>
                  <a:lnTo>
                    <a:pt x="2" y="533"/>
                  </a:lnTo>
                  <a:lnTo>
                    <a:pt x="4" y="535"/>
                  </a:lnTo>
                  <a:lnTo>
                    <a:pt x="7" y="537"/>
                  </a:lnTo>
                  <a:lnTo>
                    <a:pt x="10" y="538"/>
                  </a:lnTo>
                  <a:lnTo>
                    <a:pt x="12" y="539"/>
                  </a:lnTo>
                  <a:lnTo>
                    <a:pt x="15" y="539"/>
                  </a:lnTo>
                  <a:lnTo>
                    <a:pt x="18" y="539"/>
                  </a:lnTo>
                  <a:lnTo>
                    <a:pt x="22" y="538"/>
                  </a:lnTo>
                  <a:lnTo>
                    <a:pt x="24" y="537"/>
                  </a:lnTo>
                  <a:lnTo>
                    <a:pt x="26" y="535"/>
                  </a:lnTo>
                  <a:lnTo>
                    <a:pt x="28" y="533"/>
                  </a:lnTo>
                  <a:lnTo>
                    <a:pt x="29" y="531"/>
                  </a:lnTo>
                  <a:lnTo>
                    <a:pt x="30" y="528"/>
                  </a:lnTo>
                  <a:lnTo>
                    <a:pt x="30" y="52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305"/>
            <p:cNvSpPr>
              <a:spLocks noEditPoints="1"/>
            </p:cNvSpPr>
            <p:nvPr/>
          </p:nvSpPr>
          <p:spPr bwMode="auto">
            <a:xfrm>
              <a:off x="11593513" y="782638"/>
              <a:ext cx="285750" cy="285750"/>
            </a:xfrm>
            <a:custGeom>
              <a:avLst/>
              <a:gdLst>
                <a:gd name="T0" fmla="*/ 559 w 900"/>
                <a:gd name="T1" fmla="*/ 179 h 900"/>
                <a:gd name="T2" fmla="*/ 866 w 900"/>
                <a:gd name="T3" fmla="*/ 838 h 900"/>
                <a:gd name="T4" fmla="*/ 570 w 900"/>
                <a:gd name="T5" fmla="*/ 869 h 900"/>
                <a:gd name="T6" fmla="*/ 390 w 900"/>
                <a:gd name="T7" fmla="*/ 330 h 900"/>
                <a:gd name="T8" fmla="*/ 570 w 900"/>
                <a:gd name="T9" fmla="*/ 869 h 900"/>
                <a:gd name="T10" fmla="*/ 180 w 900"/>
                <a:gd name="T11" fmla="*/ 29 h 900"/>
                <a:gd name="T12" fmla="*/ 360 w 900"/>
                <a:gd name="T13" fmla="*/ 315 h 900"/>
                <a:gd name="T14" fmla="*/ 180 w 900"/>
                <a:gd name="T15" fmla="*/ 869 h 900"/>
                <a:gd name="T16" fmla="*/ 30 w 900"/>
                <a:gd name="T17" fmla="*/ 150 h 900"/>
                <a:gd name="T18" fmla="*/ 150 w 900"/>
                <a:gd name="T19" fmla="*/ 869 h 900"/>
                <a:gd name="T20" fmla="*/ 30 w 900"/>
                <a:gd name="T21" fmla="*/ 150 h 900"/>
                <a:gd name="T22" fmla="*/ 660 w 900"/>
                <a:gd name="T23" fmla="*/ 128 h 900"/>
                <a:gd name="T24" fmla="*/ 656 w 900"/>
                <a:gd name="T25" fmla="*/ 122 h 900"/>
                <a:gd name="T26" fmla="*/ 652 w 900"/>
                <a:gd name="T27" fmla="*/ 119 h 900"/>
                <a:gd name="T28" fmla="*/ 646 w 900"/>
                <a:gd name="T29" fmla="*/ 118 h 900"/>
                <a:gd name="T30" fmla="*/ 640 w 900"/>
                <a:gd name="T31" fmla="*/ 118 h 900"/>
                <a:gd name="T32" fmla="*/ 532 w 900"/>
                <a:gd name="T33" fmla="*/ 157 h 900"/>
                <a:gd name="T34" fmla="*/ 528 w 900"/>
                <a:gd name="T35" fmla="*/ 161 h 900"/>
                <a:gd name="T36" fmla="*/ 526 w 900"/>
                <a:gd name="T37" fmla="*/ 165 h 900"/>
                <a:gd name="T38" fmla="*/ 525 w 900"/>
                <a:gd name="T39" fmla="*/ 172 h 900"/>
                <a:gd name="T40" fmla="*/ 568 w 900"/>
                <a:gd name="T41" fmla="*/ 300 h 900"/>
                <a:gd name="T42" fmla="*/ 390 w 900"/>
                <a:gd name="T43" fmla="*/ 15 h 900"/>
                <a:gd name="T44" fmla="*/ 389 w 900"/>
                <a:gd name="T45" fmla="*/ 9 h 900"/>
                <a:gd name="T46" fmla="*/ 386 w 900"/>
                <a:gd name="T47" fmla="*/ 5 h 900"/>
                <a:gd name="T48" fmla="*/ 381 w 900"/>
                <a:gd name="T49" fmla="*/ 2 h 900"/>
                <a:gd name="T50" fmla="*/ 375 w 900"/>
                <a:gd name="T51" fmla="*/ 0 h 900"/>
                <a:gd name="T52" fmla="*/ 162 w 900"/>
                <a:gd name="T53" fmla="*/ 1 h 900"/>
                <a:gd name="T54" fmla="*/ 156 w 900"/>
                <a:gd name="T55" fmla="*/ 3 h 900"/>
                <a:gd name="T56" fmla="*/ 153 w 900"/>
                <a:gd name="T57" fmla="*/ 7 h 900"/>
                <a:gd name="T58" fmla="*/ 151 w 900"/>
                <a:gd name="T59" fmla="*/ 12 h 900"/>
                <a:gd name="T60" fmla="*/ 150 w 900"/>
                <a:gd name="T61" fmla="*/ 120 h 900"/>
                <a:gd name="T62" fmla="*/ 12 w 900"/>
                <a:gd name="T63" fmla="*/ 120 h 900"/>
                <a:gd name="T64" fmla="*/ 7 w 900"/>
                <a:gd name="T65" fmla="*/ 122 h 900"/>
                <a:gd name="T66" fmla="*/ 3 w 900"/>
                <a:gd name="T67" fmla="*/ 127 h 900"/>
                <a:gd name="T68" fmla="*/ 0 w 900"/>
                <a:gd name="T69" fmla="*/ 132 h 900"/>
                <a:gd name="T70" fmla="*/ 0 w 900"/>
                <a:gd name="T71" fmla="*/ 885 h 900"/>
                <a:gd name="T72" fmla="*/ 1 w 900"/>
                <a:gd name="T73" fmla="*/ 891 h 900"/>
                <a:gd name="T74" fmla="*/ 5 w 900"/>
                <a:gd name="T75" fmla="*/ 895 h 900"/>
                <a:gd name="T76" fmla="*/ 9 w 900"/>
                <a:gd name="T77" fmla="*/ 898 h 900"/>
                <a:gd name="T78" fmla="*/ 15 w 900"/>
                <a:gd name="T79" fmla="*/ 900 h 900"/>
                <a:gd name="T80" fmla="*/ 375 w 900"/>
                <a:gd name="T81" fmla="*/ 900 h 900"/>
                <a:gd name="T82" fmla="*/ 588 w 900"/>
                <a:gd name="T83" fmla="*/ 899 h 900"/>
                <a:gd name="T84" fmla="*/ 593 w 900"/>
                <a:gd name="T85" fmla="*/ 897 h 900"/>
                <a:gd name="T86" fmla="*/ 598 w 900"/>
                <a:gd name="T87" fmla="*/ 893 h 900"/>
                <a:gd name="T88" fmla="*/ 600 w 900"/>
                <a:gd name="T89" fmla="*/ 887 h 900"/>
                <a:gd name="T90" fmla="*/ 600 w 900"/>
                <a:gd name="T91" fmla="*/ 396 h 900"/>
                <a:gd name="T92" fmla="*/ 768 w 900"/>
                <a:gd name="T93" fmla="*/ 893 h 900"/>
                <a:gd name="T94" fmla="*/ 771 w 900"/>
                <a:gd name="T95" fmla="*/ 897 h 900"/>
                <a:gd name="T96" fmla="*/ 777 w 900"/>
                <a:gd name="T97" fmla="*/ 899 h 900"/>
                <a:gd name="T98" fmla="*/ 782 w 900"/>
                <a:gd name="T99" fmla="*/ 899 h 900"/>
                <a:gd name="T100" fmla="*/ 890 w 900"/>
                <a:gd name="T101" fmla="*/ 862 h 900"/>
                <a:gd name="T102" fmla="*/ 897 w 900"/>
                <a:gd name="T103" fmla="*/ 856 h 900"/>
                <a:gd name="T104" fmla="*/ 900 w 900"/>
                <a:gd name="T105" fmla="*/ 848 h 900"/>
                <a:gd name="T106" fmla="*/ 899 w 900"/>
                <a:gd name="T107" fmla="*/ 84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0" h="900">
                  <a:moveTo>
                    <a:pt x="790" y="866"/>
                  </a:moveTo>
                  <a:lnTo>
                    <a:pt x="559" y="179"/>
                  </a:lnTo>
                  <a:lnTo>
                    <a:pt x="636" y="151"/>
                  </a:lnTo>
                  <a:lnTo>
                    <a:pt x="866" y="838"/>
                  </a:lnTo>
                  <a:lnTo>
                    <a:pt x="790" y="866"/>
                  </a:lnTo>
                  <a:close/>
                  <a:moveTo>
                    <a:pt x="570" y="869"/>
                  </a:moveTo>
                  <a:lnTo>
                    <a:pt x="390" y="869"/>
                  </a:lnTo>
                  <a:lnTo>
                    <a:pt x="390" y="330"/>
                  </a:lnTo>
                  <a:lnTo>
                    <a:pt x="570" y="330"/>
                  </a:lnTo>
                  <a:lnTo>
                    <a:pt x="570" y="869"/>
                  </a:lnTo>
                  <a:close/>
                  <a:moveTo>
                    <a:pt x="180" y="135"/>
                  </a:moveTo>
                  <a:lnTo>
                    <a:pt x="180" y="29"/>
                  </a:lnTo>
                  <a:lnTo>
                    <a:pt x="360" y="29"/>
                  </a:lnTo>
                  <a:lnTo>
                    <a:pt x="360" y="315"/>
                  </a:lnTo>
                  <a:lnTo>
                    <a:pt x="360" y="869"/>
                  </a:lnTo>
                  <a:lnTo>
                    <a:pt x="180" y="869"/>
                  </a:lnTo>
                  <a:lnTo>
                    <a:pt x="180" y="135"/>
                  </a:lnTo>
                  <a:close/>
                  <a:moveTo>
                    <a:pt x="30" y="150"/>
                  </a:moveTo>
                  <a:lnTo>
                    <a:pt x="150" y="150"/>
                  </a:lnTo>
                  <a:lnTo>
                    <a:pt x="150" y="869"/>
                  </a:lnTo>
                  <a:lnTo>
                    <a:pt x="30" y="869"/>
                  </a:lnTo>
                  <a:lnTo>
                    <a:pt x="30" y="150"/>
                  </a:lnTo>
                  <a:close/>
                  <a:moveTo>
                    <a:pt x="899" y="843"/>
                  </a:moveTo>
                  <a:lnTo>
                    <a:pt x="660" y="128"/>
                  </a:lnTo>
                  <a:lnTo>
                    <a:pt x="659" y="125"/>
                  </a:lnTo>
                  <a:lnTo>
                    <a:pt x="656" y="122"/>
                  </a:lnTo>
                  <a:lnTo>
                    <a:pt x="654" y="120"/>
                  </a:lnTo>
                  <a:lnTo>
                    <a:pt x="652" y="119"/>
                  </a:lnTo>
                  <a:lnTo>
                    <a:pt x="649" y="118"/>
                  </a:lnTo>
                  <a:lnTo>
                    <a:pt x="646" y="118"/>
                  </a:lnTo>
                  <a:lnTo>
                    <a:pt x="643" y="118"/>
                  </a:lnTo>
                  <a:lnTo>
                    <a:pt x="640" y="118"/>
                  </a:lnTo>
                  <a:lnTo>
                    <a:pt x="536" y="156"/>
                  </a:lnTo>
                  <a:lnTo>
                    <a:pt x="532" y="157"/>
                  </a:lnTo>
                  <a:lnTo>
                    <a:pt x="530" y="159"/>
                  </a:lnTo>
                  <a:lnTo>
                    <a:pt x="528" y="161"/>
                  </a:lnTo>
                  <a:lnTo>
                    <a:pt x="527" y="163"/>
                  </a:lnTo>
                  <a:lnTo>
                    <a:pt x="526" y="165"/>
                  </a:lnTo>
                  <a:lnTo>
                    <a:pt x="525" y="168"/>
                  </a:lnTo>
                  <a:lnTo>
                    <a:pt x="525" y="172"/>
                  </a:lnTo>
                  <a:lnTo>
                    <a:pt x="526" y="175"/>
                  </a:lnTo>
                  <a:lnTo>
                    <a:pt x="568" y="300"/>
                  </a:lnTo>
                  <a:lnTo>
                    <a:pt x="390" y="300"/>
                  </a:lnTo>
                  <a:lnTo>
                    <a:pt x="390" y="15"/>
                  </a:lnTo>
                  <a:lnTo>
                    <a:pt x="390" y="12"/>
                  </a:lnTo>
                  <a:lnTo>
                    <a:pt x="389" y="9"/>
                  </a:lnTo>
                  <a:lnTo>
                    <a:pt x="387" y="7"/>
                  </a:lnTo>
                  <a:lnTo>
                    <a:pt x="386" y="5"/>
                  </a:lnTo>
                  <a:lnTo>
                    <a:pt x="384" y="3"/>
                  </a:lnTo>
                  <a:lnTo>
                    <a:pt x="381" y="2"/>
                  </a:lnTo>
                  <a:lnTo>
                    <a:pt x="379" y="1"/>
                  </a:lnTo>
                  <a:lnTo>
                    <a:pt x="375" y="0"/>
                  </a:lnTo>
                  <a:lnTo>
                    <a:pt x="165" y="0"/>
                  </a:lnTo>
                  <a:lnTo>
                    <a:pt x="162" y="1"/>
                  </a:lnTo>
                  <a:lnTo>
                    <a:pt x="160" y="2"/>
                  </a:lnTo>
                  <a:lnTo>
                    <a:pt x="156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9" y="121"/>
                  </a:lnTo>
                  <a:lnTo>
                    <a:pt x="7" y="122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88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3" y="893"/>
                  </a:lnTo>
                  <a:lnTo>
                    <a:pt x="5" y="895"/>
                  </a:lnTo>
                  <a:lnTo>
                    <a:pt x="7" y="897"/>
                  </a:lnTo>
                  <a:lnTo>
                    <a:pt x="9" y="898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165" y="900"/>
                  </a:lnTo>
                  <a:lnTo>
                    <a:pt x="375" y="900"/>
                  </a:lnTo>
                  <a:lnTo>
                    <a:pt x="585" y="900"/>
                  </a:lnTo>
                  <a:lnTo>
                    <a:pt x="588" y="899"/>
                  </a:lnTo>
                  <a:lnTo>
                    <a:pt x="591" y="898"/>
                  </a:lnTo>
                  <a:lnTo>
                    <a:pt x="593" y="897"/>
                  </a:lnTo>
                  <a:lnTo>
                    <a:pt x="595" y="895"/>
                  </a:lnTo>
                  <a:lnTo>
                    <a:pt x="598" y="893"/>
                  </a:lnTo>
                  <a:lnTo>
                    <a:pt x="599" y="891"/>
                  </a:lnTo>
                  <a:lnTo>
                    <a:pt x="600" y="887"/>
                  </a:lnTo>
                  <a:lnTo>
                    <a:pt x="600" y="885"/>
                  </a:lnTo>
                  <a:lnTo>
                    <a:pt x="600" y="396"/>
                  </a:lnTo>
                  <a:lnTo>
                    <a:pt x="765" y="890"/>
                  </a:lnTo>
                  <a:lnTo>
                    <a:pt x="768" y="893"/>
                  </a:lnTo>
                  <a:lnTo>
                    <a:pt x="769" y="895"/>
                  </a:lnTo>
                  <a:lnTo>
                    <a:pt x="771" y="897"/>
                  </a:lnTo>
                  <a:lnTo>
                    <a:pt x="774" y="898"/>
                  </a:lnTo>
                  <a:lnTo>
                    <a:pt x="777" y="899"/>
                  </a:lnTo>
                  <a:lnTo>
                    <a:pt x="780" y="900"/>
                  </a:lnTo>
                  <a:lnTo>
                    <a:pt x="782" y="899"/>
                  </a:lnTo>
                  <a:lnTo>
                    <a:pt x="785" y="899"/>
                  </a:lnTo>
                  <a:lnTo>
                    <a:pt x="890" y="862"/>
                  </a:lnTo>
                  <a:lnTo>
                    <a:pt x="895" y="860"/>
                  </a:lnTo>
                  <a:lnTo>
                    <a:pt x="897" y="856"/>
                  </a:lnTo>
                  <a:lnTo>
                    <a:pt x="899" y="852"/>
                  </a:lnTo>
                  <a:lnTo>
                    <a:pt x="900" y="848"/>
                  </a:lnTo>
                  <a:lnTo>
                    <a:pt x="900" y="846"/>
                  </a:lnTo>
                  <a:lnTo>
                    <a:pt x="899" y="844"/>
                  </a:lnTo>
                  <a:lnTo>
                    <a:pt x="899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806078" y="1210297"/>
            <a:ext cx="579845" cy="583066"/>
            <a:chOff x="10455275" y="2498725"/>
            <a:chExt cx="285750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06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038600" y="1070945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38600" y="5230082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132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2132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639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639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6" b="960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24114" y="2813447"/>
            <a:ext cx="10943772" cy="12311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b="1" dirty="0">
                <a:solidFill>
                  <a:schemeClr val="accent1"/>
                </a:solidFill>
                <a:latin typeface="+mj-lt"/>
              </a:rPr>
              <a:t>Thank You</a:t>
            </a:r>
            <a:endParaRPr lang="en-US" sz="80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667500"/>
            <a:ext cx="1219200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Arquitetura</a:t>
            </a:r>
            <a:endParaRPr lang="en-US" altLang="en-US" sz="3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7" name="Rectangle: Rounded Corners 6"/>
          <p:cNvSpPr/>
          <p:nvPr/>
        </p:nvSpPr>
        <p:spPr>
          <a:xfrm>
            <a:off x="398277" y="1377041"/>
            <a:ext cx="3249690" cy="49244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Y</a:t>
            </a:r>
            <a:endParaRPr lang="en-US" dirty="0"/>
          </a:p>
        </p:txBody>
      </p:sp>
      <p:sp>
        <p:nvSpPr>
          <p:cNvPr id="24" name="Rectangle: Rounded Corners 23"/>
          <p:cNvSpPr/>
          <p:nvPr/>
        </p:nvSpPr>
        <p:spPr>
          <a:xfrm>
            <a:off x="4471156" y="1377041"/>
            <a:ext cx="3249690" cy="49244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</a:t>
            </a:r>
            <a:endParaRPr lang="en-US" dirty="0"/>
          </a:p>
        </p:txBody>
      </p:sp>
      <p:sp>
        <p:nvSpPr>
          <p:cNvPr id="25" name="Rectangle: Rounded Corners 24"/>
          <p:cNvSpPr/>
          <p:nvPr/>
        </p:nvSpPr>
        <p:spPr>
          <a:xfrm>
            <a:off x="8544034" y="1377041"/>
            <a:ext cx="3249690" cy="49244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EN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398277" y="2073833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8277" y="2913417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703229" y="2709069"/>
            <a:ext cx="26397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471155" y="2073833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71155" y="2913417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4776107" y="2709069"/>
            <a:ext cx="263978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8544033" y="2073833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544033" y="2913417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8848985" y="2709069"/>
            <a:ext cx="26397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/>
          <p:cNvSpPr/>
          <p:nvPr/>
        </p:nvSpPr>
        <p:spPr>
          <a:xfrm>
            <a:off x="398277" y="3902980"/>
            <a:ext cx="3249690" cy="49244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</a:t>
            </a:r>
            <a:endParaRPr lang="en-US" dirty="0"/>
          </a:p>
        </p:txBody>
      </p:sp>
      <p:sp>
        <p:nvSpPr>
          <p:cNvPr id="38" name="Rectangle: Rounded Corners 37"/>
          <p:cNvSpPr/>
          <p:nvPr/>
        </p:nvSpPr>
        <p:spPr>
          <a:xfrm>
            <a:off x="4471156" y="3902980"/>
            <a:ext cx="3249690" cy="49244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O</a:t>
            </a:r>
            <a:endParaRPr lang="en-US" dirty="0"/>
          </a:p>
        </p:txBody>
      </p:sp>
      <p:sp>
        <p:nvSpPr>
          <p:cNvPr id="39" name="Rectangle: Rounded Corners 38"/>
          <p:cNvSpPr/>
          <p:nvPr/>
        </p:nvSpPr>
        <p:spPr>
          <a:xfrm>
            <a:off x="8544034" y="3902980"/>
            <a:ext cx="3249690" cy="49244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ERE</a:t>
            </a:r>
            <a:endParaRPr 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398277" y="4599772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98277" y="5439356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703229" y="5235008"/>
            <a:ext cx="263978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4471155" y="4599772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471155" y="5439356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4776107" y="5235008"/>
            <a:ext cx="263978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544033" y="4599772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544033" y="5439356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8848985" y="5235008"/>
            <a:ext cx="263978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Freeform: Shape 77"/>
          <p:cNvSpPr/>
          <p:nvPr/>
        </p:nvSpPr>
        <p:spPr>
          <a:xfrm>
            <a:off x="0" y="1609293"/>
            <a:ext cx="12192000" cy="4715307"/>
          </a:xfrm>
          <a:custGeom>
            <a:avLst/>
            <a:gdLst>
              <a:gd name="connsiteX0" fmla="*/ 6092283 w 12192000"/>
              <a:gd name="connsiteY0" fmla="*/ 300 h 4715307"/>
              <a:gd name="connsiteX1" fmla="*/ 8888552 w 12192000"/>
              <a:gd name="connsiteY1" fmla="*/ 1737025 h 4715307"/>
              <a:gd name="connsiteX2" fmla="*/ 12177661 w 12192000"/>
              <a:gd name="connsiteY2" fmla="*/ 4015963 h 4715307"/>
              <a:gd name="connsiteX3" fmla="*/ 12192000 w 12192000"/>
              <a:gd name="connsiteY3" fmla="*/ 4018406 h 4715307"/>
              <a:gd name="connsiteX4" fmla="*/ 12192000 w 12192000"/>
              <a:gd name="connsiteY4" fmla="*/ 4715307 h 4715307"/>
              <a:gd name="connsiteX5" fmla="*/ 0 w 12192000"/>
              <a:gd name="connsiteY5" fmla="*/ 4715307 h 4715307"/>
              <a:gd name="connsiteX6" fmla="*/ 0 w 12192000"/>
              <a:gd name="connsiteY6" fmla="*/ 4018406 h 4715307"/>
              <a:gd name="connsiteX7" fmla="*/ 14335 w 12192000"/>
              <a:gd name="connsiteY7" fmla="*/ 4015963 h 4715307"/>
              <a:gd name="connsiteX8" fmla="*/ 3296013 w 12192000"/>
              <a:gd name="connsiteY8" fmla="*/ 1737025 h 4715307"/>
              <a:gd name="connsiteX9" fmla="*/ 6092283 w 12192000"/>
              <a:gd name="connsiteY9" fmla="*/ 300 h 4715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4715307">
                <a:moveTo>
                  <a:pt x="6092283" y="300"/>
                </a:moveTo>
                <a:cubicBezTo>
                  <a:pt x="6590554" y="-7154"/>
                  <a:pt x="8033311" y="112106"/>
                  <a:pt x="8888552" y="1737025"/>
                </a:cubicBezTo>
                <a:cubicBezTo>
                  <a:pt x="9845587" y="3527092"/>
                  <a:pt x="11816522" y="3952022"/>
                  <a:pt x="12177661" y="4015963"/>
                </a:cubicBezTo>
                <a:lnTo>
                  <a:pt x="12192000" y="4018406"/>
                </a:lnTo>
                <a:lnTo>
                  <a:pt x="12192000" y="4715307"/>
                </a:lnTo>
                <a:lnTo>
                  <a:pt x="0" y="4715307"/>
                </a:lnTo>
                <a:lnTo>
                  <a:pt x="0" y="4018406"/>
                </a:lnTo>
                <a:lnTo>
                  <a:pt x="14335" y="4015963"/>
                </a:lnTo>
                <a:cubicBezTo>
                  <a:pt x="375415" y="3952022"/>
                  <a:pt x="2345718" y="3527092"/>
                  <a:pt x="3296013" y="1737025"/>
                </a:cubicBezTo>
                <a:cubicBezTo>
                  <a:pt x="4158692" y="112106"/>
                  <a:pt x="5601448" y="-7154"/>
                  <a:pt x="6092283" y="3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Instalação e Configuração Automáticas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6013450" y="1526743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/>
          <p:cNvSpPr/>
          <p:nvPr/>
        </p:nvSpPr>
        <p:spPr>
          <a:xfrm>
            <a:off x="3416300" y="2944891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/>
          <p:cNvSpPr/>
          <p:nvPr/>
        </p:nvSpPr>
        <p:spPr>
          <a:xfrm>
            <a:off x="1651000" y="4906680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/>
          <p:cNvSpPr/>
          <p:nvPr/>
        </p:nvSpPr>
        <p:spPr>
          <a:xfrm>
            <a:off x="10375900" y="4906680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/>
          <p:cNvSpPr/>
          <p:nvPr/>
        </p:nvSpPr>
        <p:spPr>
          <a:xfrm>
            <a:off x="8610600" y="2944891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6" name="Straight Connector 85"/>
          <p:cNvCxnSpPr/>
          <p:nvPr/>
        </p:nvCxnSpPr>
        <p:spPr>
          <a:xfrm>
            <a:off x="1733550" y="4989230"/>
            <a:ext cx="0" cy="13353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10458450" y="4989230"/>
            <a:ext cx="0" cy="13353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6096000" y="1691843"/>
            <a:ext cx="0" cy="46327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1190625" y="4427501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27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955925" y="2362619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41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308600" y="1085358"/>
            <a:ext cx="157480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dirty="0">
                <a:solidFill>
                  <a:schemeClr val="accent1"/>
                </a:solidFill>
                <a:latin typeface="+mj-lt"/>
              </a:rPr>
              <a:t>$45,825</a:t>
            </a:r>
            <a:endParaRPr lang="id-ID" sz="2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8150226" y="2362619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56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9915525" y="4427501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70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719567" y="3025571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6234166" y="3025571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935163" y="4989230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8018570" y="4989230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406901" y="1811542"/>
            <a:ext cx="33782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b="1" dirty="0">
                <a:solidFill>
                  <a:schemeClr val="accent1"/>
                </a:solidFill>
              </a:rPr>
              <a:t>Lorem ipsum dolor sit </a:t>
            </a:r>
            <a:r>
              <a:rPr lang="en-US" sz="1400" b="1" dirty="0" err="1">
                <a:solidFill>
                  <a:schemeClr val="accent1"/>
                </a:solidFill>
              </a:rPr>
              <a:t>amet</a:t>
            </a:r>
            <a:r>
              <a:rPr lang="en-US" sz="1400" b="1" dirty="0">
                <a:solidFill>
                  <a:schemeClr val="accent1"/>
                </a:solidFill>
              </a:rPr>
              <a:t>, </a:t>
            </a:r>
            <a:r>
              <a:rPr lang="en-US" sz="1400" b="1" dirty="0" err="1">
                <a:solidFill>
                  <a:schemeClr val="accent1"/>
                </a:solidFill>
              </a:rPr>
              <a:t>consectetur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adipiscing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elit</a:t>
            </a:r>
            <a:r>
              <a:rPr lang="en-US" sz="1400" b="1" dirty="0">
                <a:solidFill>
                  <a:schemeClr val="accent1"/>
                </a:solidFill>
              </a:rPr>
              <a:t>.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Monitorização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pic>
        <p:nvPicPr>
          <p:cNvPr id="10" name="Picture 9" descr="app-server"/>
          <p:cNvPicPr>
            <a:picLocks noChangeAspect="1"/>
          </p:cNvPicPr>
          <p:nvPr/>
        </p:nvPicPr>
        <p:blipFill>
          <a:blip r:embed="rId1">
            <a:grayscl/>
            <a:lum bright="60000" contrast="72000"/>
          </a:blip>
          <a:stretch>
            <a:fillRect/>
          </a:stretch>
        </p:blipFill>
        <p:spPr>
          <a:xfrm>
            <a:off x="1083310" y="1924685"/>
            <a:ext cx="1003300" cy="1168400"/>
          </a:xfrm>
          <a:prstGeom prst="rect">
            <a:avLst/>
          </a:prstGeom>
        </p:spPr>
      </p:pic>
      <p:pic>
        <p:nvPicPr>
          <p:cNvPr id="11" name="Picture 10" descr="db-server"/>
          <p:cNvPicPr>
            <a:picLocks noChangeAspect="1"/>
          </p:cNvPicPr>
          <p:nvPr/>
        </p:nvPicPr>
        <p:blipFill>
          <a:blip r:embed="rId2">
            <a:biLevel thresh="50000"/>
            <a:lum bright="54000"/>
          </a:blip>
          <a:stretch>
            <a:fillRect/>
          </a:stretch>
        </p:blipFill>
        <p:spPr>
          <a:xfrm>
            <a:off x="1076960" y="4091940"/>
            <a:ext cx="1009650" cy="13265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750" y="4091940"/>
            <a:ext cx="347345" cy="45529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9265" y="1924685"/>
            <a:ext cx="347345" cy="455295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2260600" y="2161540"/>
            <a:ext cx="412750" cy="63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2260600" y="4318635"/>
            <a:ext cx="412750" cy="127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663190" y="2162175"/>
            <a:ext cx="0" cy="216789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2195" y="2849880"/>
            <a:ext cx="777240" cy="777240"/>
          </a:xfrm>
          <a:prstGeom prst="rect">
            <a:avLst/>
          </a:prstGeom>
        </p:spPr>
      </p:pic>
      <p:cxnSp>
        <p:nvCxnSpPr>
          <p:cNvPr id="24" name="Straight Arrow Connector 23"/>
          <p:cNvCxnSpPr/>
          <p:nvPr/>
        </p:nvCxnSpPr>
        <p:spPr>
          <a:xfrm flipV="1">
            <a:off x="2673350" y="3235960"/>
            <a:ext cx="856615" cy="4445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 flipV="1">
            <a:off x="4369435" y="3234690"/>
            <a:ext cx="805180" cy="127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8440" y="2691130"/>
            <a:ext cx="1088390" cy="1088390"/>
          </a:xfrm>
          <a:prstGeom prst="rect">
            <a:avLst/>
          </a:prstGeom>
        </p:spPr>
      </p:pic>
      <p:sp>
        <p:nvSpPr>
          <p:cNvPr id="36" name="Text Box 35"/>
          <p:cNvSpPr txBox="1"/>
          <p:nvPr/>
        </p:nvSpPr>
        <p:spPr>
          <a:xfrm>
            <a:off x="2663190" y="3112770"/>
            <a:ext cx="578485" cy="245110"/>
          </a:xfrm>
          <a:prstGeom prst="rect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en-US" altLang="en-US" sz="1000">
                <a:latin typeface="+mj-lt"/>
                <a:cs typeface="+mj-lt"/>
              </a:rPr>
              <a:t>envia</a:t>
            </a:r>
            <a:endParaRPr lang="en-US" altLang="en-US" sz="1000">
              <a:latin typeface="+mj-lt"/>
              <a:cs typeface="+mj-lt"/>
            </a:endParaRPr>
          </a:p>
        </p:txBody>
      </p:sp>
      <p:sp>
        <p:nvSpPr>
          <p:cNvPr id="52" name="Text Box 51"/>
          <p:cNvSpPr txBox="1"/>
          <p:nvPr/>
        </p:nvSpPr>
        <p:spPr>
          <a:xfrm>
            <a:off x="4626610" y="3115945"/>
            <a:ext cx="734060" cy="245110"/>
          </a:xfrm>
          <a:prstGeom prst="rect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en-US" altLang="en-US" sz="1000">
                <a:latin typeface="+mj-lt"/>
                <a:cs typeface="+mj-lt"/>
              </a:rPr>
              <a:t>visualiza</a:t>
            </a:r>
            <a:endParaRPr lang="en-US" altLang="en-US" sz="1000">
              <a:latin typeface="+mj-lt"/>
              <a:cs typeface="+mj-lt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114540" y="1337945"/>
            <a:ext cx="4445" cy="4676775"/>
          </a:xfrm>
          <a:prstGeom prst="line">
            <a:avLst/>
          </a:prstGeom>
          <a:ln w="1905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1" name="Rectangle: Rounded Corners 80"/>
          <p:cNvSpPr/>
          <p:nvPr/>
        </p:nvSpPr>
        <p:spPr>
          <a:xfrm>
            <a:off x="6749415" y="1418590"/>
            <a:ext cx="4448175" cy="681990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84" name="Oval 83"/>
          <p:cNvSpPr/>
          <p:nvPr/>
        </p:nvSpPr>
        <p:spPr>
          <a:xfrm flipH="1">
            <a:off x="6810364" y="1469716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91" name="TextBox 90"/>
          <p:cNvSpPr txBox="1"/>
          <p:nvPr/>
        </p:nvSpPr>
        <p:spPr>
          <a:xfrm>
            <a:off x="7454900" y="1698308"/>
            <a:ext cx="4094480" cy="30734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p>
            <a:pPr algn="l">
              <a:buClr>
                <a:schemeClr val="accent1"/>
              </a:buClr>
            </a:pPr>
            <a:r>
              <a:rPr lang="en-US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en-US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MÉTRICAS USO DE RECURSOS</a:t>
            </a:r>
            <a:endParaRPr lang="en-US" alt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8" name="Freeform 830"/>
          <p:cNvSpPr>
            <a:spLocks noEditPoints="1"/>
          </p:cNvSpPr>
          <p:nvPr/>
        </p:nvSpPr>
        <p:spPr bwMode="auto">
          <a:xfrm>
            <a:off x="9288168" y="2376848"/>
            <a:ext cx="287338" cy="239713"/>
          </a:xfrm>
          <a:custGeom>
            <a:avLst/>
            <a:gdLst>
              <a:gd name="T0" fmla="*/ 145 w 723"/>
              <a:gd name="T1" fmla="*/ 524 h 601"/>
              <a:gd name="T2" fmla="*/ 143 w 723"/>
              <a:gd name="T3" fmla="*/ 537 h 601"/>
              <a:gd name="T4" fmla="*/ 138 w 723"/>
              <a:gd name="T5" fmla="*/ 548 h 601"/>
              <a:gd name="T6" fmla="*/ 132 w 723"/>
              <a:gd name="T7" fmla="*/ 558 h 601"/>
              <a:gd name="T8" fmla="*/ 124 w 723"/>
              <a:gd name="T9" fmla="*/ 566 h 601"/>
              <a:gd name="T10" fmla="*/ 115 w 723"/>
              <a:gd name="T11" fmla="*/ 571 h 601"/>
              <a:gd name="T12" fmla="*/ 104 w 723"/>
              <a:gd name="T13" fmla="*/ 575 h 601"/>
              <a:gd name="T14" fmla="*/ 92 w 723"/>
              <a:gd name="T15" fmla="*/ 577 h 601"/>
              <a:gd name="T16" fmla="*/ 78 w 723"/>
              <a:gd name="T17" fmla="*/ 577 h 601"/>
              <a:gd name="T18" fmla="*/ 66 w 723"/>
              <a:gd name="T19" fmla="*/ 575 h 601"/>
              <a:gd name="T20" fmla="*/ 55 w 723"/>
              <a:gd name="T21" fmla="*/ 571 h 601"/>
              <a:gd name="T22" fmla="*/ 46 w 723"/>
              <a:gd name="T23" fmla="*/ 565 h 601"/>
              <a:gd name="T24" fmla="*/ 38 w 723"/>
              <a:gd name="T25" fmla="*/ 556 h 601"/>
              <a:gd name="T26" fmla="*/ 31 w 723"/>
              <a:gd name="T27" fmla="*/ 547 h 601"/>
              <a:gd name="T28" fmla="*/ 26 w 723"/>
              <a:gd name="T29" fmla="*/ 536 h 601"/>
              <a:gd name="T30" fmla="*/ 24 w 723"/>
              <a:gd name="T31" fmla="*/ 524 h 601"/>
              <a:gd name="T32" fmla="*/ 24 w 723"/>
              <a:gd name="T33" fmla="*/ 23 h 601"/>
              <a:gd name="T34" fmla="*/ 217 w 723"/>
              <a:gd name="T35" fmla="*/ 60 h 601"/>
              <a:gd name="T36" fmla="*/ 220 w 723"/>
              <a:gd name="T37" fmla="*/ 68 h 601"/>
              <a:gd name="T38" fmla="*/ 229 w 723"/>
              <a:gd name="T39" fmla="*/ 72 h 601"/>
              <a:gd name="T40" fmla="*/ 602 w 723"/>
              <a:gd name="T41" fmla="*/ 120 h 601"/>
              <a:gd name="T42" fmla="*/ 152 w 723"/>
              <a:gd name="T43" fmla="*/ 121 h 601"/>
              <a:gd name="T44" fmla="*/ 146 w 723"/>
              <a:gd name="T45" fmla="*/ 127 h 601"/>
              <a:gd name="T46" fmla="*/ 145 w 723"/>
              <a:gd name="T47" fmla="*/ 518 h 601"/>
              <a:gd name="T48" fmla="*/ 626 w 723"/>
              <a:gd name="T49" fmla="*/ 120 h 601"/>
              <a:gd name="T50" fmla="*/ 625 w 723"/>
              <a:gd name="T51" fmla="*/ 56 h 601"/>
              <a:gd name="T52" fmla="*/ 619 w 723"/>
              <a:gd name="T53" fmla="*/ 49 h 601"/>
              <a:gd name="T54" fmla="*/ 240 w 723"/>
              <a:gd name="T55" fmla="*/ 48 h 601"/>
              <a:gd name="T56" fmla="*/ 240 w 723"/>
              <a:gd name="T57" fmla="*/ 7 h 601"/>
              <a:gd name="T58" fmla="*/ 233 w 723"/>
              <a:gd name="T59" fmla="*/ 1 h 601"/>
              <a:gd name="T60" fmla="*/ 12 w 723"/>
              <a:gd name="T61" fmla="*/ 0 h 601"/>
              <a:gd name="T62" fmla="*/ 4 w 723"/>
              <a:gd name="T63" fmla="*/ 4 h 601"/>
              <a:gd name="T64" fmla="*/ 0 w 723"/>
              <a:gd name="T65" fmla="*/ 12 h 601"/>
              <a:gd name="T66" fmla="*/ 1 w 723"/>
              <a:gd name="T67" fmla="*/ 527 h 601"/>
              <a:gd name="T68" fmla="*/ 4 w 723"/>
              <a:gd name="T69" fmla="*/ 543 h 601"/>
              <a:gd name="T70" fmla="*/ 10 w 723"/>
              <a:gd name="T71" fmla="*/ 559 h 601"/>
              <a:gd name="T72" fmla="*/ 18 w 723"/>
              <a:gd name="T73" fmla="*/ 572 h 601"/>
              <a:gd name="T74" fmla="*/ 29 w 723"/>
              <a:gd name="T75" fmla="*/ 583 h 601"/>
              <a:gd name="T76" fmla="*/ 44 w 723"/>
              <a:gd name="T77" fmla="*/ 592 h 601"/>
              <a:gd name="T78" fmla="*/ 59 w 723"/>
              <a:gd name="T79" fmla="*/ 598 h 601"/>
              <a:gd name="T80" fmla="*/ 75 w 723"/>
              <a:gd name="T81" fmla="*/ 601 h 601"/>
              <a:gd name="T82" fmla="*/ 615 w 723"/>
              <a:gd name="T83" fmla="*/ 601 h 601"/>
              <a:gd name="T84" fmla="*/ 635 w 723"/>
              <a:gd name="T85" fmla="*/ 599 h 601"/>
              <a:gd name="T86" fmla="*/ 655 w 723"/>
              <a:gd name="T87" fmla="*/ 593 h 601"/>
              <a:gd name="T88" fmla="*/ 674 w 723"/>
              <a:gd name="T89" fmla="*/ 583 h 601"/>
              <a:gd name="T90" fmla="*/ 690 w 723"/>
              <a:gd name="T91" fmla="*/ 570 h 601"/>
              <a:gd name="T92" fmla="*/ 703 w 723"/>
              <a:gd name="T93" fmla="*/ 553 h 601"/>
              <a:gd name="T94" fmla="*/ 714 w 723"/>
              <a:gd name="T95" fmla="*/ 535 h 601"/>
              <a:gd name="T96" fmla="*/ 721 w 723"/>
              <a:gd name="T97" fmla="*/ 516 h 601"/>
              <a:gd name="T98" fmla="*/ 723 w 723"/>
              <a:gd name="T99" fmla="*/ 494 h 601"/>
              <a:gd name="T100" fmla="*/ 722 w 723"/>
              <a:gd name="T101" fmla="*/ 127 h 601"/>
              <a:gd name="T102" fmla="*/ 716 w 723"/>
              <a:gd name="T103" fmla="*/ 121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23" h="601">
                <a:moveTo>
                  <a:pt x="145" y="518"/>
                </a:moveTo>
                <a:lnTo>
                  <a:pt x="145" y="524"/>
                </a:lnTo>
                <a:lnTo>
                  <a:pt x="144" y="531"/>
                </a:lnTo>
                <a:lnTo>
                  <a:pt x="143" y="537"/>
                </a:lnTo>
                <a:lnTo>
                  <a:pt x="140" y="542"/>
                </a:lnTo>
                <a:lnTo>
                  <a:pt x="138" y="548"/>
                </a:lnTo>
                <a:lnTo>
                  <a:pt x="135" y="552"/>
                </a:lnTo>
                <a:lnTo>
                  <a:pt x="132" y="558"/>
                </a:lnTo>
                <a:lnTo>
                  <a:pt x="128" y="562"/>
                </a:lnTo>
                <a:lnTo>
                  <a:pt x="124" y="566"/>
                </a:lnTo>
                <a:lnTo>
                  <a:pt x="119" y="569"/>
                </a:lnTo>
                <a:lnTo>
                  <a:pt x="115" y="571"/>
                </a:lnTo>
                <a:lnTo>
                  <a:pt x="109" y="574"/>
                </a:lnTo>
                <a:lnTo>
                  <a:pt x="104" y="575"/>
                </a:lnTo>
                <a:lnTo>
                  <a:pt x="98" y="577"/>
                </a:lnTo>
                <a:lnTo>
                  <a:pt x="92" y="577"/>
                </a:lnTo>
                <a:lnTo>
                  <a:pt x="84" y="578"/>
                </a:lnTo>
                <a:lnTo>
                  <a:pt x="78" y="577"/>
                </a:lnTo>
                <a:lnTo>
                  <a:pt x="71" y="577"/>
                </a:lnTo>
                <a:lnTo>
                  <a:pt x="66" y="575"/>
                </a:lnTo>
                <a:lnTo>
                  <a:pt x="60" y="573"/>
                </a:lnTo>
                <a:lnTo>
                  <a:pt x="55" y="571"/>
                </a:lnTo>
                <a:lnTo>
                  <a:pt x="50" y="568"/>
                </a:lnTo>
                <a:lnTo>
                  <a:pt x="46" y="565"/>
                </a:lnTo>
                <a:lnTo>
                  <a:pt x="41" y="561"/>
                </a:lnTo>
                <a:lnTo>
                  <a:pt x="38" y="556"/>
                </a:lnTo>
                <a:lnTo>
                  <a:pt x="33" y="552"/>
                </a:lnTo>
                <a:lnTo>
                  <a:pt x="31" y="547"/>
                </a:lnTo>
                <a:lnTo>
                  <a:pt x="28" y="542"/>
                </a:lnTo>
                <a:lnTo>
                  <a:pt x="26" y="536"/>
                </a:lnTo>
                <a:lnTo>
                  <a:pt x="25" y="530"/>
                </a:lnTo>
                <a:lnTo>
                  <a:pt x="24" y="524"/>
                </a:lnTo>
                <a:lnTo>
                  <a:pt x="24" y="518"/>
                </a:lnTo>
                <a:lnTo>
                  <a:pt x="24" y="23"/>
                </a:lnTo>
                <a:lnTo>
                  <a:pt x="217" y="23"/>
                </a:lnTo>
                <a:lnTo>
                  <a:pt x="217" y="60"/>
                </a:lnTo>
                <a:lnTo>
                  <a:pt x="218" y="65"/>
                </a:lnTo>
                <a:lnTo>
                  <a:pt x="220" y="68"/>
                </a:lnTo>
                <a:lnTo>
                  <a:pt x="224" y="71"/>
                </a:lnTo>
                <a:lnTo>
                  <a:pt x="229" y="72"/>
                </a:lnTo>
                <a:lnTo>
                  <a:pt x="602" y="72"/>
                </a:lnTo>
                <a:lnTo>
                  <a:pt x="602" y="120"/>
                </a:lnTo>
                <a:lnTo>
                  <a:pt x="157" y="120"/>
                </a:lnTo>
                <a:lnTo>
                  <a:pt x="152" y="121"/>
                </a:lnTo>
                <a:lnTo>
                  <a:pt x="148" y="124"/>
                </a:lnTo>
                <a:lnTo>
                  <a:pt x="146" y="127"/>
                </a:lnTo>
                <a:lnTo>
                  <a:pt x="145" y="132"/>
                </a:lnTo>
                <a:lnTo>
                  <a:pt x="145" y="518"/>
                </a:lnTo>
                <a:close/>
                <a:moveTo>
                  <a:pt x="711" y="120"/>
                </a:moveTo>
                <a:lnTo>
                  <a:pt x="626" y="120"/>
                </a:lnTo>
                <a:lnTo>
                  <a:pt x="626" y="60"/>
                </a:lnTo>
                <a:lnTo>
                  <a:pt x="625" y="56"/>
                </a:lnTo>
                <a:lnTo>
                  <a:pt x="623" y="52"/>
                </a:lnTo>
                <a:lnTo>
                  <a:pt x="619" y="49"/>
                </a:lnTo>
                <a:lnTo>
                  <a:pt x="615" y="48"/>
                </a:lnTo>
                <a:lnTo>
                  <a:pt x="240" y="48"/>
                </a:lnTo>
                <a:lnTo>
                  <a:pt x="240" y="12"/>
                </a:lnTo>
                <a:lnTo>
                  <a:pt x="240" y="7"/>
                </a:lnTo>
                <a:lnTo>
                  <a:pt x="237" y="4"/>
                </a:lnTo>
                <a:lnTo>
                  <a:pt x="233" y="1"/>
                </a:lnTo>
                <a:lnTo>
                  <a:pt x="229" y="0"/>
                </a:lnTo>
                <a:lnTo>
                  <a:pt x="12" y="0"/>
                </a:lnTo>
                <a:lnTo>
                  <a:pt x="8" y="1"/>
                </a:lnTo>
                <a:lnTo>
                  <a:pt x="4" y="4"/>
                </a:lnTo>
                <a:lnTo>
                  <a:pt x="1" y="7"/>
                </a:lnTo>
                <a:lnTo>
                  <a:pt x="0" y="12"/>
                </a:lnTo>
                <a:lnTo>
                  <a:pt x="0" y="518"/>
                </a:lnTo>
                <a:lnTo>
                  <a:pt x="1" y="527"/>
                </a:lnTo>
                <a:lnTo>
                  <a:pt x="2" y="535"/>
                </a:lnTo>
                <a:lnTo>
                  <a:pt x="4" y="543"/>
                </a:lnTo>
                <a:lnTo>
                  <a:pt x="6" y="551"/>
                </a:lnTo>
                <a:lnTo>
                  <a:pt x="10" y="559"/>
                </a:lnTo>
                <a:lnTo>
                  <a:pt x="14" y="566"/>
                </a:lnTo>
                <a:lnTo>
                  <a:pt x="18" y="572"/>
                </a:lnTo>
                <a:lnTo>
                  <a:pt x="24" y="578"/>
                </a:lnTo>
                <a:lnTo>
                  <a:pt x="29" y="583"/>
                </a:lnTo>
                <a:lnTo>
                  <a:pt x="36" y="588"/>
                </a:lnTo>
                <a:lnTo>
                  <a:pt x="44" y="592"/>
                </a:lnTo>
                <a:lnTo>
                  <a:pt x="51" y="595"/>
                </a:lnTo>
                <a:lnTo>
                  <a:pt x="59" y="598"/>
                </a:lnTo>
                <a:lnTo>
                  <a:pt x="67" y="600"/>
                </a:lnTo>
                <a:lnTo>
                  <a:pt x="75" y="601"/>
                </a:lnTo>
                <a:lnTo>
                  <a:pt x="84" y="601"/>
                </a:lnTo>
                <a:lnTo>
                  <a:pt x="615" y="601"/>
                </a:lnTo>
                <a:lnTo>
                  <a:pt x="625" y="601"/>
                </a:lnTo>
                <a:lnTo>
                  <a:pt x="635" y="599"/>
                </a:lnTo>
                <a:lnTo>
                  <a:pt x="645" y="596"/>
                </a:lnTo>
                <a:lnTo>
                  <a:pt x="655" y="593"/>
                </a:lnTo>
                <a:lnTo>
                  <a:pt x="665" y="588"/>
                </a:lnTo>
                <a:lnTo>
                  <a:pt x="674" y="583"/>
                </a:lnTo>
                <a:lnTo>
                  <a:pt x="682" y="577"/>
                </a:lnTo>
                <a:lnTo>
                  <a:pt x="690" y="570"/>
                </a:lnTo>
                <a:lnTo>
                  <a:pt x="697" y="562"/>
                </a:lnTo>
                <a:lnTo>
                  <a:pt x="703" y="553"/>
                </a:lnTo>
                <a:lnTo>
                  <a:pt x="708" y="544"/>
                </a:lnTo>
                <a:lnTo>
                  <a:pt x="714" y="535"/>
                </a:lnTo>
                <a:lnTo>
                  <a:pt x="718" y="526"/>
                </a:lnTo>
                <a:lnTo>
                  <a:pt x="721" y="516"/>
                </a:lnTo>
                <a:lnTo>
                  <a:pt x="722" y="506"/>
                </a:lnTo>
                <a:lnTo>
                  <a:pt x="723" y="494"/>
                </a:lnTo>
                <a:lnTo>
                  <a:pt x="723" y="132"/>
                </a:lnTo>
                <a:lnTo>
                  <a:pt x="722" y="127"/>
                </a:lnTo>
                <a:lnTo>
                  <a:pt x="719" y="124"/>
                </a:lnTo>
                <a:lnTo>
                  <a:pt x="716" y="121"/>
                </a:lnTo>
                <a:lnTo>
                  <a:pt x="711" y="1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/>
          </a:p>
        </p:txBody>
      </p:sp>
      <p:sp>
        <p:nvSpPr>
          <p:cNvPr id="60" name="Rectangle: Rounded Corners 80"/>
          <p:cNvSpPr/>
          <p:nvPr/>
        </p:nvSpPr>
        <p:spPr>
          <a:xfrm>
            <a:off x="6749415" y="3804285"/>
            <a:ext cx="4448175" cy="681990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70" name="Oval 69"/>
          <p:cNvSpPr/>
          <p:nvPr/>
        </p:nvSpPr>
        <p:spPr>
          <a:xfrm flipH="1">
            <a:off x="6810364" y="3855411"/>
            <a:ext cx="578236" cy="578236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72" name="TextBox 90"/>
          <p:cNvSpPr txBox="1"/>
          <p:nvPr/>
        </p:nvSpPr>
        <p:spPr>
          <a:xfrm>
            <a:off x="7475220" y="4100196"/>
            <a:ext cx="3980815" cy="2457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p>
            <a:pPr algn="l">
              <a:buClr>
                <a:schemeClr val="accent1"/>
              </a:buClr>
            </a:pPr>
            <a:r>
              <a:rPr lang="en-US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MÉTRICAS DESEMPENHO</a:t>
            </a:r>
            <a:endParaRPr lang="en-US" alt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3" name="Text Box 72"/>
          <p:cNvSpPr txBox="1"/>
          <p:nvPr/>
        </p:nvSpPr>
        <p:spPr>
          <a:xfrm>
            <a:off x="7439660" y="2264410"/>
            <a:ext cx="271526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en-US"/>
              <a:t>- CPU</a:t>
            </a:r>
            <a:endParaRPr lang="en-US" altLang="en-US"/>
          </a:p>
          <a:p>
            <a:r>
              <a:rPr lang="en-US" altLang="en-US"/>
              <a:t>- Memória</a:t>
            </a:r>
            <a:endParaRPr lang="en-US" altLang="en-US"/>
          </a:p>
          <a:p>
            <a:r>
              <a:rPr lang="en-US" altLang="en-US"/>
              <a:t>- Disco</a:t>
            </a:r>
            <a:endParaRPr lang="en-US" altLang="en-US"/>
          </a:p>
          <a:p>
            <a:r>
              <a:rPr lang="en-US" altLang="en-US"/>
              <a:t>- Tráfego Entrada/Saída</a:t>
            </a:r>
            <a:endParaRPr lang="en-US" altLang="en-US"/>
          </a:p>
        </p:txBody>
      </p:sp>
      <p:sp>
        <p:nvSpPr>
          <p:cNvPr id="75" name="Text Box 74"/>
          <p:cNvSpPr txBox="1"/>
          <p:nvPr/>
        </p:nvSpPr>
        <p:spPr>
          <a:xfrm>
            <a:off x="7439660" y="4649470"/>
            <a:ext cx="271526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en-US"/>
              <a:t>- Tempo de Resposta</a:t>
            </a:r>
            <a:endParaRPr lang="en-US" altLang="en-US"/>
          </a:p>
          <a:p>
            <a:r>
              <a:rPr lang="en-US" altLang="en-US"/>
              <a:t>- Latência</a:t>
            </a:r>
            <a:endParaRPr lang="en-US" altLang="en-US"/>
          </a:p>
          <a:p>
            <a:r>
              <a:rPr lang="en-US" altLang="en-US"/>
              <a:t>- % de erros</a:t>
            </a:r>
            <a:endParaRPr lang="en-US" altLang="en-US"/>
          </a:p>
          <a:p>
            <a:r>
              <a:rPr lang="en-US" altLang="en-US"/>
              <a:t>- </a:t>
            </a:r>
            <a:r>
              <a:rPr lang="en-US" altLang="en-US" i="1"/>
              <a:t>Uptime</a:t>
            </a:r>
            <a:endParaRPr lang="en-US" altLang="en-US" i="1"/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6911975" y="1548765"/>
            <a:ext cx="375285" cy="375285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6892290" y="3925570"/>
            <a:ext cx="394335" cy="39433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c 1"/>
          <p:cNvSpPr/>
          <p:nvPr/>
        </p:nvSpPr>
        <p:spPr>
          <a:xfrm>
            <a:off x="1014164" y="1785257"/>
            <a:ext cx="10163672" cy="10163672"/>
          </a:xfrm>
          <a:prstGeom prst="arc">
            <a:avLst>
              <a:gd name="adj1" fmla="val 10802292"/>
              <a:gd name="adj2" fmla="val 0"/>
            </a:avLst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Avaliação</a:t>
            </a:r>
            <a:endParaRPr lang="en-US" altLang="en-US" sz="3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57" name="Group 56"/>
          <p:cNvGrpSpPr/>
          <p:nvPr/>
        </p:nvGrpSpPr>
        <p:grpSpPr>
          <a:xfrm>
            <a:off x="5549901" y="4825935"/>
            <a:ext cx="1092200" cy="1096058"/>
            <a:chOff x="4818063" y="2460625"/>
            <a:chExt cx="449262" cy="450850"/>
          </a:xfrm>
          <a:solidFill>
            <a:schemeClr val="tx2"/>
          </a:solidFill>
        </p:grpSpPr>
        <p:sp>
          <p:nvSpPr>
            <p:cNvPr id="60" name="Freeform 25"/>
            <p:cNvSpPr/>
            <p:nvPr/>
          </p:nvSpPr>
          <p:spPr bwMode="auto">
            <a:xfrm>
              <a:off x="4818063" y="2535238"/>
              <a:ext cx="374650" cy="376237"/>
            </a:xfrm>
            <a:custGeom>
              <a:avLst/>
              <a:gdLst>
                <a:gd name="T0" fmla="*/ 128 w 731"/>
                <a:gd name="T1" fmla="*/ 659 h 732"/>
                <a:gd name="T2" fmla="*/ 73 w 731"/>
                <a:gd name="T3" fmla="*/ 604 h 732"/>
                <a:gd name="T4" fmla="*/ 73 w 731"/>
                <a:gd name="T5" fmla="*/ 0 h 732"/>
                <a:gd name="T6" fmla="*/ 18 w 731"/>
                <a:gd name="T7" fmla="*/ 0 h 732"/>
                <a:gd name="T8" fmla="*/ 0 w 731"/>
                <a:gd name="T9" fmla="*/ 19 h 732"/>
                <a:gd name="T10" fmla="*/ 0 w 731"/>
                <a:gd name="T11" fmla="*/ 713 h 732"/>
                <a:gd name="T12" fmla="*/ 18 w 731"/>
                <a:gd name="T13" fmla="*/ 732 h 732"/>
                <a:gd name="T14" fmla="*/ 713 w 731"/>
                <a:gd name="T15" fmla="*/ 732 h 732"/>
                <a:gd name="T16" fmla="*/ 731 w 731"/>
                <a:gd name="T17" fmla="*/ 713 h 732"/>
                <a:gd name="T18" fmla="*/ 731 w 731"/>
                <a:gd name="T19" fmla="*/ 659 h 732"/>
                <a:gd name="T20" fmla="*/ 128 w 731"/>
                <a:gd name="T21" fmla="*/ 659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1" h="732">
                  <a:moveTo>
                    <a:pt x="128" y="659"/>
                  </a:moveTo>
                  <a:cubicBezTo>
                    <a:pt x="98" y="659"/>
                    <a:pt x="73" y="634"/>
                    <a:pt x="73" y="604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713"/>
                    <a:pt x="0" y="713"/>
                    <a:pt x="0" y="713"/>
                  </a:cubicBezTo>
                  <a:cubicBezTo>
                    <a:pt x="0" y="724"/>
                    <a:pt x="8" y="732"/>
                    <a:pt x="18" y="732"/>
                  </a:cubicBezTo>
                  <a:cubicBezTo>
                    <a:pt x="713" y="732"/>
                    <a:pt x="713" y="732"/>
                    <a:pt x="713" y="732"/>
                  </a:cubicBezTo>
                  <a:cubicBezTo>
                    <a:pt x="723" y="732"/>
                    <a:pt x="731" y="724"/>
                    <a:pt x="731" y="713"/>
                  </a:cubicBezTo>
                  <a:cubicBezTo>
                    <a:pt x="731" y="659"/>
                    <a:pt x="731" y="659"/>
                    <a:pt x="731" y="659"/>
                  </a:cubicBezTo>
                  <a:lnTo>
                    <a:pt x="128" y="6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0" name="Freeform 26"/>
            <p:cNvSpPr>
              <a:spLocks noEditPoints="1"/>
            </p:cNvSpPr>
            <p:nvPr/>
          </p:nvSpPr>
          <p:spPr bwMode="auto">
            <a:xfrm>
              <a:off x="4873625" y="2460625"/>
              <a:ext cx="393700" cy="393700"/>
            </a:xfrm>
            <a:custGeom>
              <a:avLst/>
              <a:gdLst>
                <a:gd name="T0" fmla="*/ 749 w 768"/>
                <a:gd name="T1" fmla="*/ 0 h 768"/>
                <a:gd name="T2" fmla="*/ 18 w 768"/>
                <a:gd name="T3" fmla="*/ 0 h 768"/>
                <a:gd name="T4" fmla="*/ 0 w 768"/>
                <a:gd name="T5" fmla="*/ 18 h 768"/>
                <a:gd name="T6" fmla="*/ 0 w 768"/>
                <a:gd name="T7" fmla="*/ 750 h 768"/>
                <a:gd name="T8" fmla="*/ 18 w 768"/>
                <a:gd name="T9" fmla="*/ 768 h 768"/>
                <a:gd name="T10" fmla="*/ 749 w 768"/>
                <a:gd name="T11" fmla="*/ 768 h 768"/>
                <a:gd name="T12" fmla="*/ 768 w 768"/>
                <a:gd name="T13" fmla="*/ 750 h 768"/>
                <a:gd name="T14" fmla="*/ 768 w 768"/>
                <a:gd name="T15" fmla="*/ 18 h 768"/>
                <a:gd name="T16" fmla="*/ 749 w 768"/>
                <a:gd name="T17" fmla="*/ 0 h 768"/>
                <a:gd name="T18" fmla="*/ 365 w 768"/>
                <a:gd name="T19" fmla="*/ 622 h 768"/>
                <a:gd name="T20" fmla="*/ 146 w 768"/>
                <a:gd name="T21" fmla="*/ 622 h 768"/>
                <a:gd name="T22" fmla="*/ 128 w 768"/>
                <a:gd name="T23" fmla="*/ 603 h 768"/>
                <a:gd name="T24" fmla="*/ 146 w 768"/>
                <a:gd name="T25" fmla="*/ 585 h 768"/>
                <a:gd name="T26" fmla="*/ 365 w 768"/>
                <a:gd name="T27" fmla="*/ 585 h 768"/>
                <a:gd name="T28" fmla="*/ 384 w 768"/>
                <a:gd name="T29" fmla="*/ 603 h 768"/>
                <a:gd name="T30" fmla="*/ 365 w 768"/>
                <a:gd name="T31" fmla="*/ 622 h 768"/>
                <a:gd name="T32" fmla="*/ 621 w 768"/>
                <a:gd name="T33" fmla="*/ 549 h 768"/>
                <a:gd name="T34" fmla="*/ 146 w 768"/>
                <a:gd name="T35" fmla="*/ 549 h 768"/>
                <a:gd name="T36" fmla="*/ 128 w 768"/>
                <a:gd name="T37" fmla="*/ 530 h 768"/>
                <a:gd name="T38" fmla="*/ 146 w 768"/>
                <a:gd name="T39" fmla="*/ 512 h 768"/>
                <a:gd name="T40" fmla="*/ 621 w 768"/>
                <a:gd name="T41" fmla="*/ 512 h 768"/>
                <a:gd name="T42" fmla="*/ 640 w 768"/>
                <a:gd name="T43" fmla="*/ 530 h 768"/>
                <a:gd name="T44" fmla="*/ 621 w 768"/>
                <a:gd name="T45" fmla="*/ 549 h 768"/>
                <a:gd name="T46" fmla="*/ 621 w 768"/>
                <a:gd name="T47" fmla="*/ 475 h 768"/>
                <a:gd name="T48" fmla="*/ 146 w 768"/>
                <a:gd name="T49" fmla="*/ 475 h 768"/>
                <a:gd name="T50" fmla="*/ 128 w 768"/>
                <a:gd name="T51" fmla="*/ 457 h 768"/>
                <a:gd name="T52" fmla="*/ 146 w 768"/>
                <a:gd name="T53" fmla="*/ 439 h 768"/>
                <a:gd name="T54" fmla="*/ 621 w 768"/>
                <a:gd name="T55" fmla="*/ 439 h 768"/>
                <a:gd name="T56" fmla="*/ 640 w 768"/>
                <a:gd name="T57" fmla="*/ 457 h 768"/>
                <a:gd name="T58" fmla="*/ 621 w 768"/>
                <a:gd name="T59" fmla="*/ 475 h 768"/>
                <a:gd name="T60" fmla="*/ 621 w 768"/>
                <a:gd name="T61" fmla="*/ 402 h 768"/>
                <a:gd name="T62" fmla="*/ 146 w 768"/>
                <a:gd name="T63" fmla="*/ 402 h 768"/>
                <a:gd name="T64" fmla="*/ 128 w 768"/>
                <a:gd name="T65" fmla="*/ 384 h 768"/>
                <a:gd name="T66" fmla="*/ 146 w 768"/>
                <a:gd name="T67" fmla="*/ 366 h 768"/>
                <a:gd name="T68" fmla="*/ 621 w 768"/>
                <a:gd name="T69" fmla="*/ 366 h 768"/>
                <a:gd name="T70" fmla="*/ 640 w 768"/>
                <a:gd name="T71" fmla="*/ 384 h 768"/>
                <a:gd name="T72" fmla="*/ 621 w 768"/>
                <a:gd name="T73" fmla="*/ 402 h 768"/>
                <a:gd name="T74" fmla="*/ 621 w 768"/>
                <a:gd name="T75" fmla="*/ 329 h 768"/>
                <a:gd name="T76" fmla="*/ 146 w 768"/>
                <a:gd name="T77" fmla="*/ 329 h 768"/>
                <a:gd name="T78" fmla="*/ 128 w 768"/>
                <a:gd name="T79" fmla="*/ 311 h 768"/>
                <a:gd name="T80" fmla="*/ 146 w 768"/>
                <a:gd name="T81" fmla="*/ 293 h 768"/>
                <a:gd name="T82" fmla="*/ 621 w 768"/>
                <a:gd name="T83" fmla="*/ 293 h 768"/>
                <a:gd name="T84" fmla="*/ 640 w 768"/>
                <a:gd name="T85" fmla="*/ 311 h 768"/>
                <a:gd name="T86" fmla="*/ 621 w 768"/>
                <a:gd name="T87" fmla="*/ 329 h 768"/>
                <a:gd name="T88" fmla="*/ 621 w 768"/>
                <a:gd name="T89" fmla="*/ 256 h 768"/>
                <a:gd name="T90" fmla="*/ 146 w 768"/>
                <a:gd name="T91" fmla="*/ 256 h 768"/>
                <a:gd name="T92" fmla="*/ 128 w 768"/>
                <a:gd name="T93" fmla="*/ 238 h 768"/>
                <a:gd name="T94" fmla="*/ 146 w 768"/>
                <a:gd name="T95" fmla="*/ 219 h 768"/>
                <a:gd name="T96" fmla="*/ 621 w 768"/>
                <a:gd name="T97" fmla="*/ 219 h 768"/>
                <a:gd name="T98" fmla="*/ 640 w 768"/>
                <a:gd name="T99" fmla="*/ 238 h 768"/>
                <a:gd name="T100" fmla="*/ 621 w 768"/>
                <a:gd name="T101" fmla="*/ 256 h 768"/>
                <a:gd name="T102" fmla="*/ 621 w 768"/>
                <a:gd name="T103" fmla="*/ 183 h 768"/>
                <a:gd name="T104" fmla="*/ 146 w 768"/>
                <a:gd name="T105" fmla="*/ 183 h 768"/>
                <a:gd name="T106" fmla="*/ 128 w 768"/>
                <a:gd name="T107" fmla="*/ 165 h 768"/>
                <a:gd name="T108" fmla="*/ 146 w 768"/>
                <a:gd name="T109" fmla="*/ 146 h 768"/>
                <a:gd name="T110" fmla="*/ 621 w 768"/>
                <a:gd name="T111" fmla="*/ 146 h 768"/>
                <a:gd name="T112" fmla="*/ 640 w 768"/>
                <a:gd name="T113" fmla="*/ 165 h 768"/>
                <a:gd name="T114" fmla="*/ 621 w 768"/>
                <a:gd name="T115" fmla="*/ 183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68" h="768">
                  <a:moveTo>
                    <a:pt x="749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750"/>
                    <a:pt x="0" y="750"/>
                    <a:pt x="0" y="750"/>
                  </a:cubicBezTo>
                  <a:cubicBezTo>
                    <a:pt x="0" y="760"/>
                    <a:pt x="8" y="768"/>
                    <a:pt x="18" y="768"/>
                  </a:cubicBezTo>
                  <a:cubicBezTo>
                    <a:pt x="749" y="768"/>
                    <a:pt x="749" y="768"/>
                    <a:pt x="749" y="768"/>
                  </a:cubicBezTo>
                  <a:cubicBezTo>
                    <a:pt x="759" y="768"/>
                    <a:pt x="768" y="760"/>
                    <a:pt x="768" y="750"/>
                  </a:cubicBezTo>
                  <a:cubicBezTo>
                    <a:pt x="768" y="18"/>
                    <a:pt x="768" y="18"/>
                    <a:pt x="768" y="18"/>
                  </a:cubicBezTo>
                  <a:cubicBezTo>
                    <a:pt x="768" y="8"/>
                    <a:pt x="759" y="0"/>
                    <a:pt x="749" y="0"/>
                  </a:cubicBezTo>
                  <a:close/>
                  <a:moveTo>
                    <a:pt x="365" y="622"/>
                  </a:moveTo>
                  <a:cubicBezTo>
                    <a:pt x="146" y="622"/>
                    <a:pt x="146" y="622"/>
                    <a:pt x="146" y="622"/>
                  </a:cubicBezTo>
                  <a:cubicBezTo>
                    <a:pt x="136" y="622"/>
                    <a:pt x="128" y="614"/>
                    <a:pt x="128" y="603"/>
                  </a:cubicBezTo>
                  <a:cubicBezTo>
                    <a:pt x="128" y="593"/>
                    <a:pt x="136" y="585"/>
                    <a:pt x="146" y="585"/>
                  </a:cubicBezTo>
                  <a:cubicBezTo>
                    <a:pt x="365" y="585"/>
                    <a:pt x="365" y="585"/>
                    <a:pt x="365" y="585"/>
                  </a:cubicBezTo>
                  <a:cubicBezTo>
                    <a:pt x="375" y="585"/>
                    <a:pt x="384" y="593"/>
                    <a:pt x="384" y="603"/>
                  </a:cubicBezTo>
                  <a:cubicBezTo>
                    <a:pt x="384" y="614"/>
                    <a:pt x="375" y="622"/>
                    <a:pt x="365" y="622"/>
                  </a:cubicBezTo>
                  <a:close/>
                  <a:moveTo>
                    <a:pt x="621" y="549"/>
                  </a:moveTo>
                  <a:cubicBezTo>
                    <a:pt x="146" y="549"/>
                    <a:pt x="146" y="549"/>
                    <a:pt x="146" y="549"/>
                  </a:cubicBezTo>
                  <a:cubicBezTo>
                    <a:pt x="136" y="549"/>
                    <a:pt x="128" y="540"/>
                    <a:pt x="128" y="530"/>
                  </a:cubicBezTo>
                  <a:cubicBezTo>
                    <a:pt x="128" y="520"/>
                    <a:pt x="136" y="512"/>
                    <a:pt x="146" y="512"/>
                  </a:cubicBezTo>
                  <a:cubicBezTo>
                    <a:pt x="621" y="512"/>
                    <a:pt x="621" y="512"/>
                    <a:pt x="621" y="512"/>
                  </a:cubicBezTo>
                  <a:cubicBezTo>
                    <a:pt x="631" y="512"/>
                    <a:pt x="640" y="520"/>
                    <a:pt x="640" y="530"/>
                  </a:cubicBezTo>
                  <a:cubicBezTo>
                    <a:pt x="640" y="540"/>
                    <a:pt x="631" y="549"/>
                    <a:pt x="621" y="549"/>
                  </a:cubicBezTo>
                  <a:close/>
                  <a:moveTo>
                    <a:pt x="621" y="475"/>
                  </a:moveTo>
                  <a:cubicBezTo>
                    <a:pt x="146" y="475"/>
                    <a:pt x="146" y="475"/>
                    <a:pt x="146" y="475"/>
                  </a:cubicBezTo>
                  <a:cubicBezTo>
                    <a:pt x="136" y="475"/>
                    <a:pt x="128" y="467"/>
                    <a:pt x="128" y="457"/>
                  </a:cubicBezTo>
                  <a:cubicBezTo>
                    <a:pt x="128" y="447"/>
                    <a:pt x="136" y="439"/>
                    <a:pt x="146" y="439"/>
                  </a:cubicBezTo>
                  <a:cubicBezTo>
                    <a:pt x="621" y="439"/>
                    <a:pt x="621" y="439"/>
                    <a:pt x="621" y="439"/>
                  </a:cubicBezTo>
                  <a:cubicBezTo>
                    <a:pt x="631" y="439"/>
                    <a:pt x="640" y="447"/>
                    <a:pt x="640" y="457"/>
                  </a:cubicBezTo>
                  <a:cubicBezTo>
                    <a:pt x="640" y="467"/>
                    <a:pt x="631" y="475"/>
                    <a:pt x="621" y="475"/>
                  </a:cubicBezTo>
                  <a:close/>
                  <a:moveTo>
                    <a:pt x="621" y="402"/>
                  </a:moveTo>
                  <a:cubicBezTo>
                    <a:pt x="146" y="402"/>
                    <a:pt x="146" y="402"/>
                    <a:pt x="146" y="402"/>
                  </a:cubicBezTo>
                  <a:cubicBezTo>
                    <a:pt x="136" y="402"/>
                    <a:pt x="128" y="394"/>
                    <a:pt x="128" y="384"/>
                  </a:cubicBezTo>
                  <a:cubicBezTo>
                    <a:pt x="128" y="374"/>
                    <a:pt x="136" y="366"/>
                    <a:pt x="146" y="366"/>
                  </a:cubicBezTo>
                  <a:cubicBezTo>
                    <a:pt x="621" y="366"/>
                    <a:pt x="621" y="366"/>
                    <a:pt x="621" y="366"/>
                  </a:cubicBezTo>
                  <a:cubicBezTo>
                    <a:pt x="631" y="366"/>
                    <a:pt x="640" y="374"/>
                    <a:pt x="640" y="384"/>
                  </a:cubicBezTo>
                  <a:cubicBezTo>
                    <a:pt x="640" y="394"/>
                    <a:pt x="631" y="402"/>
                    <a:pt x="621" y="402"/>
                  </a:cubicBezTo>
                  <a:close/>
                  <a:moveTo>
                    <a:pt x="621" y="329"/>
                  </a:moveTo>
                  <a:cubicBezTo>
                    <a:pt x="146" y="329"/>
                    <a:pt x="146" y="329"/>
                    <a:pt x="146" y="329"/>
                  </a:cubicBezTo>
                  <a:cubicBezTo>
                    <a:pt x="136" y="329"/>
                    <a:pt x="128" y="321"/>
                    <a:pt x="128" y="311"/>
                  </a:cubicBezTo>
                  <a:cubicBezTo>
                    <a:pt x="128" y="301"/>
                    <a:pt x="136" y="293"/>
                    <a:pt x="146" y="293"/>
                  </a:cubicBezTo>
                  <a:cubicBezTo>
                    <a:pt x="621" y="293"/>
                    <a:pt x="621" y="293"/>
                    <a:pt x="621" y="293"/>
                  </a:cubicBezTo>
                  <a:cubicBezTo>
                    <a:pt x="631" y="293"/>
                    <a:pt x="640" y="301"/>
                    <a:pt x="640" y="311"/>
                  </a:cubicBezTo>
                  <a:cubicBezTo>
                    <a:pt x="640" y="321"/>
                    <a:pt x="631" y="329"/>
                    <a:pt x="621" y="329"/>
                  </a:cubicBezTo>
                  <a:close/>
                  <a:moveTo>
                    <a:pt x="621" y="256"/>
                  </a:moveTo>
                  <a:cubicBezTo>
                    <a:pt x="146" y="256"/>
                    <a:pt x="146" y="256"/>
                    <a:pt x="146" y="256"/>
                  </a:cubicBezTo>
                  <a:cubicBezTo>
                    <a:pt x="136" y="256"/>
                    <a:pt x="128" y="248"/>
                    <a:pt x="128" y="238"/>
                  </a:cubicBezTo>
                  <a:cubicBezTo>
                    <a:pt x="128" y="228"/>
                    <a:pt x="136" y="219"/>
                    <a:pt x="146" y="219"/>
                  </a:cubicBezTo>
                  <a:cubicBezTo>
                    <a:pt x="621" y="219"/>
                    <a:pt x="621" y="219"/>
                    <a:pt x="621" y="219"/>
                  </a:cubicBezTo>
                  <a:cubicBezTo>
                    <a:pt x="631" y="219"/>
                    <a:pt x="640" y="228"/>
                    <a:pt x="640" y="238"/>
                  </a:cubicBezTo>
                  <a:cubicBezTo>
                    <a:pt x="640" y="248"/>
                    <a:pt x="631" y="256"/>
                    <a:pt x="621" y="256"/>
                  </a:cubicBezTo>
                  <a:close/>
                  <a:moveTo>
                    <a:pt x="621" y="183"/>
                  </a:moveTo>
                  <a:cubicBezTo>
                    <a:pt x="146" y="183"/>
                    <a:pt x="146" y="183"/>
                    <a:pt x="146" y="183"/>
                  </a:cubicBezTo>
                  <a:cubicBezTo>
                    <a:pt x="136" y="183"/>
                    <a:pt x="128" y="175"/>
                    <a:pt x="128" y="165"/>
                  </a:cubicBezTo>
                  <a:cubicBezTo>
                    <a:pt x="128" y="155"/>
                    <a:pt x="136" y="146"/>
                    <a:pt x="146" y="146"/>
                  </a:cubicBezTo>
                  <a:cubicBezTo>
                    <a:pt x="621" y="146"/>
                    <a:pt x="621" y="146"/>
                    <a:pt x="621" y="146"/>
                  </a:cubicBezTo>
                  <a:cubicBezTo>
                    <a:pt x="631" y="146"/>
                    <a:pt x="640" y="155"/>
                    <a:pt x="640" y="165"/>
                  </a:cubicBezTo>
                  <a:cubicBezTo>
                    <a:pt x="640" y="175"/>
                    <a:pt x="631" y="183"/>
                    <a:pt x="621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0" name="Rectangle: Rounded Corners 9"/>
          <p:cNvSpPr/>
          <p:nvPr/>
        </p:nvSpPr>
        <p:spPr>
          <a:xfrm>
            <a:off x="624113" y="5399314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: Rounded Corners 71"/>
          <p:cNvSpPr/>
          <p:nvPr/>
        </p:nvSpPr>
        <p:spPr>
          <a:xfrm>
            <a:off x="8646887" y="5399314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: Rounded Corners 74"/>
          <p:cNvSpPr/>
          <p:nvPr/>
        </p:nvSpPr>
        <p:spPr>
          <a:xfrm>
            <a:off x="1416957" y="3777466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: Rounded Corners 75"/>
          <p:cNvSpPr/>
          <p:nvPr/>
        </p:nvSpPr>
        <p:spPr>
          <a:xfrm>
            <a:off x="7854044" y="3777466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: Rounded Corners 78"/>
          <p:cNvSpPr/>
          <p:nvPr/>
        </p:nvSpPr>
        <p:spPr>
          <a:xfrm>
            <a:off x="2195281" y="2155618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/>
          <p:cNvSpPr/>
          <p:nvPr/>
        </p:nvSpPr>
        <p:spPr>
          <a:xfrm>
            <a:off x="7075720" y="2155618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257685" y="2207586"/>
            <a:ext cx="578236" cy="578236"/>
          </a:xfrm>
          <a:prstGeom prst="ellipse">
            <a:avLst/>
          </a:prstGeom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81"/>
          <p:cNvSpPr/>
          <p:nvPr/>
        </p:nvSpPr>
        <p:spPr>
          <a:xfrm>
            <a:off x="1493458" y="3829434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/>
          <p:cNvSpPr/>
          <p:nvPr/>
        </p:nvSpPr>
        <p:spPr>
          <a:xfrm>
            <a:off x="729230" y="5451282"/>
            <a:ext cx="578236" cy="578236"/>
          </a:xfrm>
          <a:prstGeom prst="ellipse">
            <a:avLst/>
          </a:prstGeom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/>
          <p:cNvSpPr/>
          <p:nvPr/>
        </p:nvSpPr>
        <p:spPr>
          <a:xfrm flipH="1">
            <a:off x="9356079" y="2207586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/>
          <p:cNvSpPr/>
          <p:nvPr/>
        </p:nvSpPr>
        <p:spPr>
          <a:xfrm flipH="1">
            <a:off x="10120306" y="3829434"/>
            <a:ext cx="578236" cy="578236"/>
          </a:xfrm>
          <a:prstGeom prst="ellipse">
            <a:avLst/>
          </a:prstGeom>
          <a:solidFill>
            <a:schemeClr val="accent1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/>
          <p:cNvSpPr/>
          <p:nvPr/>
        </p:nvSpPr>
        <p:spPr>
          <a:xfrm flipH="1">
            <a:off x="10884534" y="5451282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Box 86"/>
          <p:cNvSpPr txBox="1"/>
          <p:nvPr/>
        </p:nvSpPr>
        <p:spPr>
          <a:xfrm>
            <a:off x="1414961" y="5586511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BOUT US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9014622" y="5586511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ERVICES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206820" y="3964663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NFORMATION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214612" y="3964663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MISSION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7399018" y="2342816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ORTFOLIO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3014263" y="2342816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VISION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3" name="Freeform 2968"/>
          <p:cNvSpPr>
            <a:spLocks noEditPoints="1"/>
          </p:cNvSpPr>
          <p:nvPr/>
        </p:nvSpPr>
        <p:spPr bwMode="auto">
          <a:xfrm>
            <a:off x="875473" y="5607050"/>
            <a:ext cx="285750" cy="266700"/>
          </a:xfrm>
          <a:custGeom>
            <a:avLst/>
            <a:gdLst>
              <a:gd name="T0" fmla="*/ 219 w 720"/>
              <a:gd name="T1" fmla="*/ 323 h 671"/>
              <a:gd name="T2" fmla="*/ 212 w 720"/>
              <a:gd name="T3" fmla="*/ 312 h 671"/>
              <a:gd name="T4" fmla="*/ 219 w 720"/>
              <a:gd name="T5" fmla="*/ 301 h 671"/>
              <a:gd name="T6" fmla="*/ 515 w 720"/>
              <a:gd name="T7" fmla="*/ 301 h 671"/>
              <a:gd name="T8" fmla="*/ 524 w 720"/>
              <a:gd name="T9" fmla="*/ 312 h 671"/>
              <a:gd name="T10" fmla="*/ 515 w 720"/>
              <a:gd name="T11" fmla="*/ 323 h 671"/>
              <a:gd name="T12" fmla="*/ 512 w 720"/>
              <a:gd name="T13" fmla="*/ 420 h 671"/>
              <a:gd name="T14" fmla="*/ 216 w 720"/>
              <a:gd name="T15" fmla="*/ 417 h 671"/>
              <a:gd name="T16" fmla="*/ 213 w 720"/>
              <a:gd name="T17" fmla="*/ 404 h 671"/>
              <a:gd name="T18" fmla="*/ 224 w 720"/>
              <a:gd name="T19" fmla="*/ 395 h 671"/>
              <a:gd name="T20" fmla="*/ 520 w 720"/>
              <a:gd name="T21" fmla="*/ 399 h 671"/>
              <a:gd name="T22" fmla="*/ 523 w 720"/>
              <a:gd name="T23" fmla="*/ 412 h 671"/>
              <a:gd name="T24" fmla="*/ 512 w 720"/>
              <a:gd name="T25" fmla="*/ 420 h 671"/>
              <a:gd name="T26" fmla="*/ 420 w 720"/>
              <a:gd name="T27" fmla="*/ 204 h 671"/>
              <a:gd name="T28" fmla="*/ 432 w 720"/>
              <a:gd name="T29" fmla="*/ 211 h 671"/>
              <a:gd name="T30" fmla="*/ 429 w 720"/>
              <a:gd name="T31" fmla="*/ 224 h 671"/>
              <a:gd name="T32" fmla="*/ 224 w 720"/>
              <a:gd name="T33" fmla="*/ 227 h 671"/>
              <a:gd name="T34" fmla="*/ 213 w 720"/>
              <a:gd name="T35" fmla="*/ 220 h 671"/>
              <a:gd name="T36" fmla="*/ 216 w 720"/>
              <a:gd name="T37" fmla="*/ 207 h 671"/>
              <a:gd name="T38" fmla="*/ 224 w 720"/>
              <a:gd name="T39" fmla="*/ 204 h 671"/>
              <a:gd name="T40" fmla="*/ 324 w 720"/>
              <a:gd name="T41" fmla="*/ 1 h 671"/>
              <a:gd name="T42" fmla="*/ 270 w 720"/>
              <a:gd name="T43" fmla="*/ 10 h 671"/>
              <a:gd name="T44" fmla="*/ 220 w 720"/>
              <a:gd name="T45" fmla="*/ 24 h 671"/>
              <a:gd name="T46" fmla="*/ 174 w 720"/>
              <a:gd name="T47" fmla="*/ 44 h 671"/>
              <a:gd name="T48" fmla="*/ 132 w 720"/>
              <a:gd name="T49" fmla="*/ 69 h 671"/>
              <a:gd name="T50" fmla="*/ 94 w 720"/>
              <a:gd name="T51" fmla="*/ 99 h 671"/>
              <a:gd name="T52" fmla="*/ 62 w 720"/>
              <a:gd name="T53" fmla="*/ 134 h 671"/>
              <a:gd name="T54" fmla="*/ 36 w 720"/>
              <a:gd name="T55" fmla="*/ 170 h 671"/>
              <a:gd name="T56" fmla="*/ 17 w 720"/>
              <a:gd name="T57" fmla="*/ 212 h 671"/>
              <a:gd name="T58" fmla="*/ 5 w 720"/>
              <a:gd name="T59" fmla="*/ 255 h 671"/>
              <a:gd name="T60" fmla="*/ 0 w 720"/>
              <a:gd name="T61" fmla="*/ 301 h 671"/>
              <a:gd name="T62" fmla="*/ 5 w 720"/>
              <a:gd name="T63" fmla="*/ 343 h 671"/>
              <a:gd name="T64" fmla="*/ 17 w 720"/>
              <a:gd name="T65" fmla="*/ 383 h 671"/>
              <a:gd name="T66" fmla="*/ 35 w 720"/>
              <a:gd name="T67" fmla="*/ 424 h 671"/>
              <a:gd name="T68" fmla="*/ 61 w 720"/>
              <a:gd name="T69" fmla="*/ 461 h 671"/>
              <a:gd name="T70" fmla="*/ 93 w 720"/>
              <a:gd name="T71" fmla="*/ 495 h 671"/>
              <a:gd name="T72" fmla="*/ 28 w 720"/>
              <a:gd name="T73" fmla="*/ 657 h 671"/>
              <a:gd name="T74" fmla="*/ 30 w 720"/>
              <a:gd name="T75" fmla="*/ 668 h 671"/>
              <a:gd name="T76" fmla="*/ 42 w 720"/>
              <a:gd name="T77" fmla="*/ 671 h 671"/>
              <a:gd name="T78" fmla="*/ 268 w 720"/>
              <a:gd name="T79" fmla="*/ 583 h 671"/>
              <a:gd name="T80" fmla="*/ 328 w 720"/>
              <a:gd name="T81" fmla="*/ 594 h 671"/>
              <a:gd name="T82" fmla="*/ 379 w 720"/>
              <a:gd name="T83" fmla="*/ 596 h 671"/>
              <a:gd name="T84" fmla="*/ 432 w 720"/>
              <a:gd name="T85" fmla="*/ 590 h 671"/>
              <a:gd name="T86" fmla="*/ 483 w 720"/>
              <a:gd name="T87" fmla="*/ 578 h 671"/>
              <a:gd name="T88" fmla="*/ 531 w 720"/>
              <a:gd name="T89" fmla="*/ 561 h 671"/>
              <a:gd name="T90" fmla="*/ 575 w 720"/>
              <a:gd name="T91" fmla="*/ 537 h 671"/>
              <a:gd name="T92" fmla="*/ 614 w 720"/>
              <a:gd name="T93" fmla="*/ 509 h 671"/>
              <a:gd name="T94" fmla="*/ 649 w 720"/>
              <a:gd name="T95" fmla="*/ 477 h 671"/>
              <a:gd name="T96" fmla="*/ 676 w 720"/>
              <a:gd name="T97" fmla="*/ 442 h 671"/>
              <a:gd name="T98" fmla="*/ 697 w 720"/>
              <a:gd name="T99" fmla="*/ 402 h 671"/>
              <a:gd name="T100" fmla="*/ 712 w 720"/>
              <a:gd name="T101" fmla="*/ 361 h 671"/>
              <a:gd name="T102" fmla="*/ 719 w 720"/>
              <a:gd name="T103" fmla="*/ 316 h 671"/>
              <a:gd name="T104" fmla="*/ 718 w 720"/>
              <a:gd name="T105" fmla="*/ 270 h 671"/>
              <a:gd name="T106" fmla="*/ 708 w 720"/>
              <a:gd name="T107" fmla="*/ 226 h 671"/>
              <a:gd name="T108" fmla="*/ 692 w 720"/>
              <a:gd name="T109" fmla="*/ 183 h 671"/>
              <a:gd name="T110" fmla="*/ 668 w 720"/>
              <a:gd name="T111" fmla="*/ 145 h 671"/>
              <a:gd name="T112" fmla="*/ 638 w 720"/>
              <a:gd name="T113" fmla="*/ 110 h 671"/>
              <a:gd name="T114" fmla="*/ 602 w 720"/>
              <a:gd name="T115" fmla="*/ 79 h 671"/>
              <a:gd name="T116" fmla="*/ 561 w 720"/>
              <a:gd name="T117" fmla="*/ 51 h 671"/>
              <a:gd name="T118" fmla="*/ 515 w 720"/>
              <a:gd name="T119" fmla="*/ 30 h 671"/>
              <a:gd name="T120" fmla="*/ 467 w 720"/>
              <a:gd name="T121" fmla="*/ 15 h 671"/>
              <a:gd name="T122" fmla="*/ 414 w 720"/>
              <a:gd name="T123" fmla="*/ 4 h 671"/>
              <a:gd name="T124" fmla="*/ 361 w 720"/>
              <a:gd name="T125" fmla="*/ 0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0" h="671">
                <a:moveTo>
                  <a:pt x="512" y="324"/>
                </a:moveTo>
                <a:lnTo>
                  <a:pt x="224" y="324"/>
                </a:lnTo>
                <a:lnTo>
                  <a:pt x="219" y="323"/>
                </a:lnTo>
                <a:lnTo>
                  <a:pt x="216" y="320"/>
                </a:lnTo>
                <a:lnTo>
                  <a:pt x="213" y="317"/>
                </a:lnTo>
                <a:lnTo>
                  <a:pt x="212" y="312"/>
                </a:lnTo>
                <a:lnTo>
                  <a:pt x="213" y="307"/>
                </a:lnTo>
                <a:lnTo>
                  <a:pt x="216" y="304"/>
                </a:lnTo>
                <a:lnTo>
                  <a:pt x="219" y="301"/>
                </a:lnTo>
                <a:lnTo>
                  <a:pt x="224" y="300"/>
                </a:lnTo>
                <a:lnTo>
                  <a:pt x="512" y="300"/>
                </a:lnTo>
                <a:lnTo>
                  <a:pt x="515" y="301"/>
                </a:lnTo>
                <a:lnTo>
                  <a:pt x="520" y="304"/>
                </a:lnTo>
                <a:lnTo>
                  <a:pt x="523" y="307"/>
                </a:lnTo>
                <a:lnTo>
                  <a:pt x="524" y="312"/>
                </a:lnTo>
                <a:lnTo>
                  <a:pt x="523" y="317"/>
                </a:lnTo>
                <a:lnTo>
                  <a:pt x="520" y="320"/>
                </a:lnTo>
                <a:lnTo>
                  <a:pt x="515" y="323"/>
                </a:lnTo>
                <a:lnTo>
                  <a:pt x="512" y="324"/>
                </a:lnTo>
                <a:lnTo>
                  <a:pt x="512" y="324"/>
                </a:lnTo>
                <a:close/>
                <a:moveTo>
                  <a:pt x="512" y="420"/>
                </a:moveTo>
                <a:lnTo>
                  <a:pt x="224" y="420"/>
                </a:lnTo>
                <a:lnTo>
                  <a:pt x="219" y="419"/>
                </a:lnTo>
                <a:lnTo>
                  <a:pt x="216" y="417"/>
                </a:lnTo>
                <a:lnTo>
                  <a:pt x="213" y="412"/>
                </a:lnTo>
                <a:lnTo>
                  <a:pt x="212" y="408"/>
                </a:lnTo>
                <a:lnTo>
                  <a:pt x="213" y="404"/>
                </a:lnTo>
                <a:lnTo>
                  <a:pt x="216" y="399"/>
                </a:lnTo>
                <a:lnTo>
                  <a:pt x="219" y="396"/>
                </a:lnTo>
                <a:lnTo>
                  <a:pt x="224" y="395"/>
                </a:lnTo>
                <a:lnTo>
                  <a:pt x="512" y="395"/>
                </a:lnTo>
                <a:lnTo>
                  <a:pt x="515" y="396"/>
                </a:lnTo>
                <a:lnTo>
                  <a:pt x="520" y="399"/>
                </a:lnTo>
                <a:lnTo>
                  <a:pt x="523" y="404"/>
                </a:lnTo>
                <a:lnTo>
                  <a:pt x="524" y="408"/>
                </a:lnTo>
                <a:lnTo>
                  <a:pt x="523" y="412"/>
                </a:lnTo>
                <a:lnTo>
                  <a:pt x="520" y="417"/>
                </a:lnTo>
                <a:lnTo>
                  <a:pt x="515" y="419"/>
                </a:lnTo>
                <a:lnTo>
                  <a:pt x="512" y="420"/>
                </a:lnTo>
                <a:lnTo>
                  <a:pt x="512" y="420"/>
                </a:lnTo>
                <a:close/>
                <a:moveTo>
                  <a:pt x="224" y="204"/>
                </a:moveTo>
                <a:lnTo>
                  <a:pt x="420" y="204"/>
                </a:lnTo>
                <a:lnTo>
                  <a:pt x="425" y="205"/>
                </a:lnTo>
                <a:lnTo>
                  <a:pt x="429" y="207"/>
                </a:lnTo>
                <a:lnTo>
                  <a:pt x="432" y="211"/>
                </a:lnTo>
                <a:lnTo>
                  <a:pt x="432" y="216"/>
                </a:lnTo>
                <a:lnTo>
                  <a:pt x="432" y="220"/>
                </a:lnTo>
                <a:lnTo>
                  <a:pt x="429" y="224"/>
                </a:lnTo>
                <a:lnTo>
                  <a:pt x="425" y="227"/>
                </a:lnTo>
                <a:lnTo>
                  <a:pt x="420" y="227"/>
                </a:lnTo>
                <a:lnTo>
                  <a:pt x="224" y="227"/>
                </a:lnTo>
                <a:lnTo>
                  <a:pt x="219" y="227"/>
                </a:lnTo>
                <a:lnTo>
                  <a:pt x="216" y="224"/>
                </a:lnTo>
                <a:lnTo>
                  <a:pt x="213" y="220"/>
                </a:lnTo>
                <a:lnTo>
                  <a:pt x="212" y="216"/>
                </a:lnTo>
                <a:lnTo>
                  <a:pt x="213" y="211"/>
                </a:lnTo>
                <a:lnTo>
                  <a:pt x="216" y="207"/>
                </a:lnTo>
                <a:lnTo>
                  <a:pt x="219" y="205"/>
                </a:lnTo>
                <a:lnTo>
                  <a:pt x="224" y="204"/>
                </a:lnTo>
                <a:lnTo>
                  <a:pt x="224" y="204"/>
                </a:lnTo>
                <a:close/>
                <a:moveTo>
                  <a:pt x="361" y="0"/>
                </a:moveTo>
                <a:lnTo>
                  <a:pt x="342" y="0"/>
                </a:lnTo>
                <a:lnTo>
                  <a:pt x="324" y="1"/>
                </a:lnTo>
                <a:lnTo>
                  <a:pt x="306" y="4"/>
                </a:lnTo>
                <a:lnTo>
                  <a:pt x="288" y="6"/>
                </a:lnTo>
                <a:lnTo>
                  <a:pt x="270" y="10"/>
                </a:lnTo>
                <a:lnTo>
                  <a:pt x="254" y="13"/>
                </a:lnTo>
                <a:lnTo>
                  <a:pt x="237" y="18"/>
                </a:lnTo>
                <a:lnTo>
                  <a:pt x="220" y="24"/>
                </a:lnTo>
                <a:lnTo>
                  <a:pt x="205" y="30"/>
                </a:lnTo>
                <a:lnTo>
                  <a:pt x="190" y="37"/>
                </a:lnTo>
                <a:lnTo>
                  <a:pt x="174" y="44"/>
                </a:lnTo>
                <a:lnTo>
                  <a:pt x="160" y="51"/>
                </a:lnTo>
                <a:lnTo>
                  <a:pt x="146" y="60"/>
                </a:lnTo>
                <a:lnTo>
                  <a:pt x="132" y="69"/>
                </a:lnTo>
                <a:lnTo>
                  <a:pt x="119" y="79"/>
                </a:lnTo>
                <a:lnTo>
                  <a:pt x="106" y="88"/>
                </a:lnTo>
                <a:lnTo>
                  <a:pt x="94" y="99"/>
                </a:lnTo>
                <a:lnTo>
                  <a:pt x="84" y="110"/>
                </a:lnTo>
                <a:lnTo>
                  <a:pt x="73" y="122"/>
                </a:lnTo>
                <a:lnTo>
                  <a:pt x="62" y="134"/>
                </a:lnTo>
                <a:lnTo>
                  <a:pt x="53" y="145"/>
                </a:lnTo>
                <a:lnTo>
                  <a:pt x="44" y="157"/>
                </a:lnTo>
                <a:lnTo>
                  <a:pt x="36" y="170"/>
                </a:lnTo>
                <a:lnTo>
                  <a:pt x="29" y="183"/>
                </a:lnTo>
                <a:lnTo>
                  <a:pt x="23" y="198"/>
                </a:lnTo>
                <a:lnTo>
                  <a:pt x="17" y="212"/>
                </a:lnTo>
                <a:lnTo>
                  <a:pt x="12" y="226"/>
                </a:lnTo>
                <a:lnTo>
                  <a:pt x="9" y="241"/>
                </a:lnTo>
                <a:lnTo>
                  <a:pt x="5" y="255"/>
                </a:lnTo>
                <a:lnTo>
                  <a:pt x="3" y="270"/>
                </a:lnTo>
                <a:lnTo>
                  <a:pt x="2" y="286"/>
                </a:lnTo>
                <a:lnTo>
                  <a:pt x="0" y="301"/>
                </a:lnTo>
                <a:lnTo>
                  <a:pt x="2" y="314"/>
                </a:lnTo>
                <a:lnTo>
                  <a:pt x="3" y="329"/>
                </a:lnTo>
                <a:lnTo>
                  <a:pt x="5" y="343"/>
                </a:lnTo>
                <a:lnTo>
                  <a:pt x="8" y="356"/>
                </a:lnTo>
                <a:lnTo>
                  <a:pt x="12" y="370"/>
                </a:lnTo>
                <a:lnTo>
                  <a:pt x="17" y="383"/>
                </a:lnTo>
                <a:lnTo>
                  <a:pt x="22" y="398"/>
                </a:lnTo>
                <a:lnTo>
                  <a:pt x="28" y="411"/>
                </a:lnTo>
                <a:lnTo>
                  <a:pt x="35" y="424"/>
                </a:lnTo>
                <a:lnTo>
                  <a:pt x="43" y="437"/>
                </a:lnTo>
                <a:lnTo>
                  <a:pt x="52" y="449"/>
                </a:lnTo>
                <a:lnTo>
                  <a:pt x="61" y="461"/>
                </a:lnTo>
                <a:lnTo>
                  <a:pt x="72" y="473"/>
                </a:lnTo>
                <a:lnTo>
                  <a:pt x="82" y="484"/>
                </a:lnTo>
                <a:lnTo>
                  <a:pt x="93" y="495"/>
                </a:lnTo>
                <a:lnTo>
                  <a:pt x="105" y="507"/>
                </a:lnTo>
                <a:lnTo>
                  <a:pt x="29" y="653"/>
                </a:lnTo>
                <a:lnTo>
                  <a:pt x="28" y="657"/>
                </a:lnTo>
                <a:lnTo>
                  <a:pt x="27" y="660"/>
                </a:lnTo>
                <a:lnTo>
                  <a:pt x="28" y="664"/>
                </a:lnTo>
                <a:lnTo>
                  <a:pt x="30" y="668"/>
                </a:lnTo>
                <a:lnTo>
                  <a:pt x="35" y="670"/>
                </a:lnTo>
                <a:lnTo>
                  <a:pt x="38" y="671"/>
                </a:lnTo>
                <a:lnTo>
                  <a:pt x="42" y="671"/>
                </a:lnTo>
                <a:lnTo>
                  <a:pt x="44" y="670"/>
                </a:lnTo>
                <a:lnTo>
                  <a:pt x="242" y="576"/>
                </a:lnTo>
                <a:lnTo>
                  <a:pt x="268" y="583"/>
                </a:lnTo>
                <a:lnTo>
                  <a:pt x="297" y="590"/>
                </a:lnTo>
                <a:lnTo>
                  <a:pt x="312" y="593"/>
                </a:lnTo>
                <a:lnTo>
                  <a:pt x="328" y="594"/>
                </a:lnTo>
                <a:lnTo>
                  <a:pt x="344" y="596"/>
                </a:lnTo>
                <a:lnTo>
                  <a:pt x="361" y="596"/>
                </a:lnTo>
                <a:lnTo>
                  <a:pt x="379" y="596"/>
                </a:lnTo>
                <a:lnTo>
                  <a:pt x="397" y="595"/>
                </a:lnTo>
                <a:lnTo>
                  <a:pt x="414" y="593"/>
                </a:lnTo>
                <a:lnTo>
                  <a:pt x="432" y="590"/>
                </a:lnTo>
                <a:lnTo>
                  <a:pt x="450" y="587"/>
                </a:lnTo>
                <a:lnTo>
                  <a:pt x="467" y="583"/>
                </a:lnTo>
                <a:lnTo>
                  <a:pt x="483" y="578"/>
                </a:lnTo>
                <a:lnTo>
                  <a:pt x="500" y="572"/>
                </a:lnTo>
                <a:lnTo>
                  <a:pt x="515" y="566"/>
                </a:lnTo>
                <a:lnTo>
                  <a:pt x="531" y="561"/>
                </a:lnTo>
                <a:lnTo>
                  <a:pt x="546" y="553"/>
                </a:lnTo>
                <a:lnTo>
                  <a:pt x="561" y="545"/>
                </a:lnTo>
                <a:lnTo>
                  <a:pt x="575" y="537"/>
                </a:lnTo>
                <a:lnTo>
                  <a:pt x="589" y="528"/>
                </a:lnTo>
                <a:lnTo>
                  <a:pt x="602" y="519"/>
                </a:lnTo>
                <a:lnTo>
                  <a:pt x="614" y="509"/>
                </a:lnTo>
                <a:lnTo>
                  <a:pt x="626" y="499"/>
                </a:lnTo>
                <a:lnTo>
                  <a:pt x="638" y="488"/>
                </a:lnTo>
                <a:lnTo>
                  <a:pt x="649" y="477"/>
                </a:lnTo>
                <a:lnTo>
                  <a:pt x="658" y="465"/>
                </a:lnTo>
                <a:lnTo>
                  <a:pt x="668" y="453"/>
                </a:lnTo>
                <a:lnTo>
                  <a:pt x="676" y="442"/>
                </a:lnTo>
                <a:lnTo>
                  <a:pt x="684" y="429"/>
                </a:lnTo>
                <a:lnTo>
                  <a:pt x="692" y="415"/>
                </a:lnTo>
                <a:lnTo>
                  <a:pt x="697" y="402"/>
                </a:lnTo>
                <a:lnTo>
                  <a:pt x="703" y="388"/>
                </a:lnTo>
                <a:lnTo>
                  <a:pt x="708" y="375"/>
                </a:lnTo>
                <a:lnTo>
                  <a:pt x="712" y="361"/>
                </a:lnTo>
                <a:lnTo>
                  <a:pt x="715" y="345"/>
                </a:lnTo>
                <a:lnTo>
                  <a:pt x="718" y="331"/>
                </a:lnTo>
                <a:lnTo>
                  <a:pt x="719" y="316"/>
                </a:lnTo>
                <a:lnTo>
                  <a:pt x="720" y="301"/>
                </a:lnTo>
                <a:lnTo>
                  <a:pt x="719" y="286"/>
                </a:lnTo>
                <a:lnTo>
                  <a:pt x="718" y="270"/>
                </a:lnTo>
                <a:lnTo>
                  <a:pt x="715" y="255"/>
                </a:lnTo>
                <a:lnTo>
                  <a:pt x="712" y="241"/>
                </a:lnTo>
                <a:lnTo>
                  <a:pt x="708" y="226"/>
                </a:lnTo>
                <a:lnTo>
                  <a:pt x="703" y="212"/>
                </a:lnTo>
                <a:lnTo>
                  <a:pt x="697" y="198"/>
                </a:lnTo>
                <a:lnTo>
                  <a:pt x="692" y="183"/>
                </a:lnTo>
                <a:lnTo>
                  <a:pt x="684" y="170"/>
                </a:lnTo>
                <a:lnTo>
                  <a:pt x="676" y="157"/>
                </a:lnTo>
                <a:lnTo>
                  <a:pt x="668" y="145"/>
                </a:lnTo>
                <a:lnTo>
                  <a:pt x="658" y="134"/>
                </a:lnTo>
                <a:lnTo>
                  <a:pt x="649" y="122"/>
                </a:lnTo>
                <a:lnTo>
                  <a:pt x="638" y="110"/>
                </a:lnTo>
                <a:lnTo>
                  <a:pt x="626" y="99"/>
                </a:lnTo>
                <a:lnTo>
                  <a:pt x="614" y="88"/>
                </a:lnTo>
                <a:lnTo>
                  <a:pt x="602" y="79"/>
                </a:lnTo>
                <a:lnTo>
                  <a:pt x="589" y="69"/>
                </a:lnTo>
                <a:lnTo>
                  <a:pt x="575" y="60"/>
                </a:lnTo>
                <a:lnTo>
                  <a:pt x="561" y="51"/>
                </a:lnTo>
                <a:lnTo>
                  <a:pt x="546" y="44"/>
                </a:lnTo>
                <a:lnTo>
                  <a:pt x="531" y="37"/>
                </a:lnTo>
                <a:lnTo>
                  <a:pt x="515" y="30"/>
                </a:lnTo>
                <a:lnTo>
                  <a:pt x="500" y="24"/>
                </a:lnTo>
                <a:lnTo>
                  <a:pt x="483" y="18"/>
                </a:lnTo>
                <a:lnTo>
                  <a:pt x="467" y="15"/>
                </a:lnTo>
                <a:lnTo>
                  <a:pt x="450" y="10"/>
                </a:lnTo>
                <a:lnTo>
                  <a:pt x="432" y="6"/>
                </a:lnTo>
                <a:lnTo>
                  <a:pt x="414" y="4"/>
                </a:lnTo>
                <a:lnTo>
                  <a:pt x="397" y="1"/>
                </a:lnTo>
                <a:lnTo>
                  <a:pt x="379" y="0"/>
                </a:lnTo>
                <a:lnTo>
                  <a:pt x="361" y="0"/>
                </a:lnTo>
                <a:lnTo>
                  <a:pt x="36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94" name="Freeform 950"/>
          <p:cNvSpPr>
            <a:spLocks noEditPoints="1"/>
          </p:cNvSpPr>
          <p:nvPr/>
        </p:nvSpPr>
        <p:spPr bwMode="auto">
          <a:xfrm>
            <a:off x="1672245" y="3975677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95" name="Group 94"/>
          <p:cNvGrpSpPr/>
          <p:nvPr/>
        </p:nvGrpSpPr>
        <p:grpSpPr>
          <a:xfrm>
            <a:off x="2403928" y="2413360"/>
            <a:ext cx="285750" cy="166688"/>
            <a:chOff x="8161338" y="2565400"/>
            <a:chExt cx="285750" cy="166688"/>
          </a:xfrm>
          <a:solidFill>
            <a:schemeClr val="bg1"/>
          </a:solidFill>
        </p:grpSpPr>
        <p:sp>
          <p:nvSpPr>
            <p:cNvPr id="96" name="Freeform 3857"/>
            <p:cNvSpPr>
              <a:spLocks noEditPoints="1"/>
            </p:cNvSpPr>
            <p:nvPr/>
          </p:nvSpPr>
          <p:spPr bwMode="auto">
            <a:xfrm>
              <a:off x="8261350" y="2603500"/>
              <a:ext cx="85725" cy="85725"/>
            </a:xfrm>
            <a:custGeom>
              <a:avLst/>
              <a:gdLst>
                <a:gd name="T0" fmla="*/ 108 w 270"/>
                <a:gd name="T1" fmla="*/ 221 h 270"/>
                <a:gd name="T2" fmla="*/ 78 w 270"/>
                <a:gd name="T3" fmla="*/ 204 h 270"/>
                <a:gd name="T4" fmla="*/ 56 w 270"/>
                <a:gd name="T5" fmla="*/ 178 h 270"/>
                <a:gd name="T6" fmla="*/ 45 w 270"/>
                <a:gd name="T7" fmla="*/ 144 h 270"/>
                <a:gd name="T8" fmla="*/ 47 w 270"/>
                <a:gd name="T9" fmla="*/ 126 h 270"/>
                <a:gd name="T10" fmla="*/ 57 w 270"/>
                <a:gd name="T11" fmla="*/ 120 h 270"/>
                <a:gd name="T12" fmla="*/ 69 w 270"/>
                <a:gd name="T13" fmla="*/ 123 h 270"/>
                <a:gd name="T14" fmla="*/ 75 w 270"/>
                <a:gd name="T15" fmla="*/ 132 h 270"/>
                <a:gd name="T16" fmla="*/ 78 w 270"/>
                <a:gd name="T17" fmla="*/ 153 h 270"/>
                <a:gd name="T18" fmla="*/ 89 w 270"/>
                <a:gd name="T19" fmla="*/ 173 h 270"/>
                <a:gd name="T20" fmla="*/ 106 w 270"/>
                <a:gd name="T21" fmla="*/ 187 h 270"/>
                <a:gd name="T22" fmla="*/ 129 w 270"/>
                <a:gd name="T23" fmla="*/ 195 h 270"/>
                <a:gd name="T24" fmla="*/ 153 w 270"/>
                <a:gd name="T25" fmla="*/ 193 h 270"/>
                <a:gd name="T26" fmla="*/ 174 w 270"/>
                <a:gd name="T27" fmla="*/ 181 h 270"/>
                <a:gd name="T28" fmla="*/ 188 w 270"/>
                <a:gd name="T29" fmla="*/ 164 h 270"/>
                <a:gd name="T30" fmla="*/ 195 w 270"/>
                <a:gd name="T31" fmla="*/ 141 h 270"/>
                <a:gd name="T32" fmla="*/ 193 w 270"/>
                <a:gd name="T33" fmla="*/ 118 h 270"/>
                <a:gd name="T34" fmla="*/ 181 w 270"/>
                <a:gd name="T35" fmla="*/ 97 h 270"/>
                <a:gd name="T36" fmla="*/ 164 w 270"/>
                <a:gd name="T37" fmla="*/ 82 h 270"/>
                <a:gd name="T38" fmla="*/ 142 w 270"/>
                <a:gd name="T39" fmla="*/ 75 h 270"/>
                <a:gd name="T40" fmla="*/ 127 w 270"/>
                <a:gd name="T41" fmla="*/ 73 h 270"/>
                <a:gd name="T42" fmla="*/ 120 w 270"/>
                <a:gd name="T43" fmla="*/ 63 h 270"/>
                <a:gd name="T44" fmla="*/ 123 w 270"/>
                <a:gd name="T45" fmla="*/ 51 h 270"/>
                <a:gd name="T46" fmla="*/ 132 w 270"/>
                <a:gd name="T47" fmla="*/ 45 h 270"/>
                <a:gd name="T48" fmla="*/ 162 w 270"/>
                <a:gd name="T49" fmla="*/ 49 h 270"/>
                <a:gd name="T50" fmla="*/ 193 w 270"/>
                <a:gd name="T51" fmla="*/ 65 h 270"/>
                <a:gd name="T52" fmla="*/ 215 w 270"/>
                <a:gd name="T53" fmla="*/ 92 h 270"/>
                <a:gd name="T54" fmla="*/ 225 w 270"/>
                <a:gd name="T55" fmla="*/ 126 h 270"/>
                <a:gd name="T56" fmla="*/ 221 w 270"/>
                <a:gd name="T57" fmla="*/ 162 h 270"/>
                <a:gd name="T58" fmla="*/ 205 w 270"/>
                <a:gd name="T59" fmla="*/ 193 h 270"/>
                <a:gd name="T60" fmla="*/ 178 w 270"/>
                <a:gd name="T61" fmla="*/ 214 h 270"/>
                <a:gd name="T62" fmla="*/ 145 w 270"/>
                <a:gd name="T63" fmla="*/ 225 h 270"/>
                <a:gd name="T64" fmla="*/ 108 w 270"/>
                <a:gd name="T65" fmla="*/ 3 h 270"/>
                <a:gd name="T66" fmla="*/ 60 w 270"/>
                <a:gd name="T67" fmla="*/ 23 h 270"/>
                <a:gd name="T68" fmla="*/ 24 w 270"/>
                <a:gd name="T69" fmla="*/ 60 h 270"/>
                <a:gd name="T70" fmla="*/ 3 w 270"/>
                <a:gd name="T71" fmla="*/ 108 h 270"/>
                <a:gd name="T72" fmla="*/ 3 w 270"/>
                <a:gd name="T73" fmla="*/ 163 h 270"/>
                <a:gd name="T74" fmla="*/ 24 w 270"/>
                <a:gd name="T75" fmla="*/ 211 h 270"/>
                <a:gd name="T76" fmla="*/ 60 w 270"/>
                <a:gd name="T77" fmla="*/ 247 h 270"/>
                <a:gd name="T78" fmla="*/ 108 w 270"/>
                <a:gd name="T79" fmla="*/ 268 h 270"/>
                <a:gd name="T80" fmla="*/ 163 w 270"/>
                <a:gd name="T81" fmla="*/ 268 h 270"/>
                <a:gd name="T82" fmla="*/ 211 w 270"/>
                <a:gd name="T83" fmla="*/ 247 h 270"/>
                <a:gd name="T84" fmla="*/ 248 w 270"/>
                <a:gd name="T85" fmla="*/ 211 h 270"/>
                <a:gd name="T86" fmla="*/ 268 w 270"/>
                <a:gd name="T87" fmla="*/ 163 h 270"/>
                <a:gd name="T88" fmla="*/ 268 w 270"/>
                <a:gd name="T89" fmla="*/ 108 h 270"/>
                <a:gd name="T90" fmla="*/ 248 w 270"/>
                <a:gd name="T91" fmla="*/ 60 h 270"/>
                <a:gd name="T92" fmla="*/ 211 w 270"/>
                <a:gd name="T93" fmla="*/ 23 h 270"/>
                <a:gd name="T94" fmla="*/ 163 w 270"/>
                <a:gd name="T95" fmla="*/ 3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70">
                  <a:moveTo>
                    <a:pt x="135" y="225"/>
                  </a:moveTo>
                  <a:lnTo>
                    <a:pt x="127" y="225"/>
                  </a:lnTo>
                  <a:lnTo>
                    <a:pt x="117" y="224"/>
                  </a:lnTo>
                  <a:lnTo>
                    <a:pt x="108" y="221"/>
                  </a:lnTo>
                  <a:lnTo>
                    <a:pt x="100" y="218"/>
                  </a:lnTo>
                  <a:lnTo>
                    <a:pt x="92" y="214"/>
                  </a:lnTo>
                  <a:lnTo>
                    <a:pt x="85" y="210"/>
                  </a:lnTo>
                  <a:lnTo>
                    <a:pt x="78" y="204"/>
                  </a:lnTo>
                  <a:lnTo>
                    <a:pt x="72" y="199"/>
                  </a:lnTo>
                  <a:lnTo>
                    <a:pt x="65" y="193"/>
                  </a:lnTo>
                  <a:lnTo>
                    <a:pt x="60" y="185"/>
                  </a:lnTo>
                  <a:lnTo>
                    <a:pt x="56" y="178"/>
                  </a:lnTo>
                  <a:lnTo>
                    <a:pt x="53" y="170"/>
                  </a:lnTo>
                  <a:lnTo>
                    <a:pt x="49" y="162"/>
                  </a:lnTo>
                  <a:lnTo>
                    <a:pt x="47" y="153"/>
                  </a:lnTo>
                  <a:lnTo>
                    <a:pt x="45" y="144"/>
                  </a:lnTo>
                  <a:lnTo>
                    <a:pt x="45" y="135"/>
                  </a:lnTo>
                  <a:lnTo>
                    <a:pt x="45" y="132"/>
                  </a:lnTo>
                  <a:lnTo>
                    <a:pt x="46" y="129"/>
                  </a:lnTo>
                  <a:lnTo>
                    <a:pt x="47" y="126"/>
                  </a:lnTo>
                  <a:lnTo>
                    <a:pt x="49" y="124"/>
                  </a:lnTo>
                  <a:lnTo>
                    <a:pt x="52" y="123"/>
                  </a:lnTo>
                  <a:lnTo>
                    <a:pt x="55" y="121"/>
                  </a:lnTo>
                  <a:lnTo>
                    <a:pt x="57" y="120"/>
                  </a:lnTo>
                  <a:lnTo>
                    <a:pt x="60" y="120"/>
                  </a:lnTo>
                  <a:lnTo>
                    <a:pt x="63" y="120"/>
                  </a:lnTo>
                  <a:lnTo>
                    <a:pt x="67" y="121"/>
                  </a:lnTo>
                  <a:lnTo>
                    <a:pt x="69" y="123"/>
                  </a:lnTo>
                  <a:lnTo>
                    <a:pt x="71" y="124"/>
                  </a:lnTo>
                  <a:lnTo>
                    <a:pt x="73" y="126"/>
                  </a:lnTo>
                  <a:lnTo>
                    <a:pt x="74" y="129"/>
                  </a:lnTo>
                  <a:lnTo>
                    <a:pt x="75" y="132"/>
                  </a:lnTo>
                  <a:lnTo>
                    <a:pt x="75" y="135"/>
                  </a:lnTo>
                  <a:lnTo>
                    <a:pt x="75" y="141"/>
                  </a:lnTo>
                  <a:lnTo>
                    <a:pt x="76" y="147"/>
                  </a:lnTo>
                  <a:lnTo>
                    <a:pt x="78" y="153"/>
                  </a:lnTo>
                  <a:lnTo>
                    <a:pt x="79" y="158"/>
                  </a:lnTo>
                  <a:lnTo>
                    <a:pt x="83" y="164"/>
                  </a:lnTo>
                  <a:lnTo>
                    <a:pt x="86" y="168"/>
                  </a:lnTo>
                  <a:lnTo>
                    <a:pt x="89" y="173"/>
                  </a:lnTo>
                  <a:lnTo>
                    <a:pt x="93" y="178"/>
                  </a:lnTo>
                  <a:lnTo>
                    <a:pt x="97" y="181"/>
                  </a:lnTo>
                  <a:lnTo>
                    <a:pt x="102" y="185"/>
                  </a:lnTo>
                  <a:lnTo>
                    <a:pt x="106" y="187"/>
                  </a:lnTo>
                  <a:lnTo>
                    <a:pt x="112" y="191"/>
                  </a:lnTo>
                  <a:lnTo>
                    <a:pt x="117" y="193"/>
                  </a:lnTo>
                  <a:lnTo>
                    <a:pt x="123" y="194"/>
                  </a:lnTo>
                  <a:lnTo>
                    <a:pt x="129" y="195"/>
                  </a:lnTo>
                  <a:lnTo>
                    <a:pt x="135" y="195"/>
                  </a:lnTo>
                  <a:lnTo>
                    <a:pt x="142" y="195"/>
                  </a:lnTo>
                  <a:lnTo>
                    <a:pt x="147" y="194"/>
                  </a:lnTo>
                  <a:lnTo>
                    <a:pt x="153" y="193"/>
                  </a:lnTo>
                  <a:lnTo>
                    <a:pt x="159" y="191"/>
                  </a:lnTo>
                  <a:lnTo>
                    <a:pt x="164" y="187"/>
                  </a:lnTo>
                  <a:lnTo>
                    <a:pt x="168" y="185"/>
                  </a:lnTo>
                  <a:lnTo>
                    <a:pt x="174" y="181"/>
                  </a:lnTo>
                  <a:lnTo>
                    <a:pt x="178" y="178"/>
                  </a:lnTo>
                  <a:lnTo>
                    <a:pt x="181" y="173"/>
                  </a:lnTo>
                  <a:lnTo>
                    <a:pt x="186" y="169"/>
                  </a:lnTo>
                  <a:lnTo>
                    <a:pt x="188" y="164"/>
                  </a:lnTo>
                  <a:lnTo>
                    <a:pt x="191" y="158"/>
                  </a:lnTo>
                  <a:lnTo>
                    <a:pt x="193" y="153"/>
                  </a:lnTo>
                  <a:lnTo>
                    <a:pt x="194" y="147"/>
                  </a:lnTo>
                  <a:lnTo>
                    <a:pt x="195" y="141"/>
                  </a:lnTo>
                  <a:lnTo>
                    <a:pt x="195" y="135"/>
                  </a:lnTo>
                  <a:lnTo>
                    <a:pt x="195" y="128"/>
                  </a:lnTo>
                  <a:lnTo>
                    <a:pt x="194" y="123"/>
                  </a:lnTo>
                  <a:lnTo>
                    <a:pt x="193" y="118"/>
                  </a:lnTo>
                  <a:lnTo>
                    <a:pt x="191" y="111"/>
                  </a:lnTo>
                  <a:lnTo>
                    <a:pt x="188" y="106"/>
                  </a:lnTo>
                  <a:lnTo>
                    <a:pt x="186" y="102"/>
                  </a:lnTo>
                  <a:lnTo>
                    <a:pt x="181" y="97"/>
                  </a:lnTo>
                  <a:lnTo>
                    <a:pt x="178" y="93"/>
                  </a:lnTo>
                  <a:lnTo>
                    <a:pt x="174" y="89"/>
                  </a:lnTo>
                  <a:lnTo>
                    <a:pt x="168" y="85"/>
                  </a:lnTo>
                  <a:lnTo>
                    <a:pt x="164" y="82"/>
                  </a:lnTo>
                  <a:lnTo>
                    <a:pt x="159" y="80"/>
                  </a:lnTo>
                  <a:lnTo>
                    <a:pt x="153" y="78"/>
                  </a:lnTo>
                  <a:lnTo>
                    <a:pt x="147" y="76"/>
                  </a:lnTo>
                  <a:lnTo>
                    <a:pt x="142" y="75"/>
                  </a:lnTo>
                  <a:lnTo>
                    <a:pt x="135" y="75"/>
                  </a:lnTo>
                  <a:lnTo>
                    <a:pt x="132" y="75"/>
                  </a:lnTo>
                  <a:lnTo>
                    <a:pt x="130" y="74"/>
                  </a:lnTo>
                  <a:lnTo>
                    <a:pt x="127" y="73"/>
                  </a:lnTo>
                  <a:lnTo>
                    <a:pt x="124" y="70"/>
                  </a:lnTo>
                  <a:lnTo>
                    <a:pt x="123" y="68"/>
                  </a:lnTo>
                  <a:lnTo>
                    <a:pt x="121" y="66"/>
                  </a:lnTo>
                  <a:lnTo>
                    <a:pt x="120" y="63"/>
                  </a:lnTo>
                  <a:lnTo>
                    <a:pt x="120" y="60"/>
                  </a:lnTo>
                  <a:lnTo>
                    <a:pt x="120" y="57"/>
                  </a:lnTo>
                  <a:lnTo>
                    <a:pt x="121" y="54"/>
                  </a:lnTo>
                  <a:lnTo>
                    <a:pt x="123" y="51"/>
                  </a:lnTo>
                  <a:lnTo>
                    <a:pt x="124" y="49"/>
                  </a:lnTo>
                  <a:lnTo>
                    <a:pt x="127" y="48"/>
                  </a:lnTo>
                  <a:lnTo>
                    <a:pt x="130" y="46"/>
                  </a:lnTo>
                  <a:lnTo>
                    <a:pt x="132" y="45"/>
                  </a:lnTo>
                  <a:lnTo>
                    <a:pt x="135" y="45"/>
                  </a:lnTo>
                  <a:lnTo>
                    <a:pt x="145" y="46"/>
                  </a:lnTo>
                  <a:lnTo>
                    <a:pt x="153" y="47"/>
                  </a:lnTo>
                  <a:lnTo>
                    <a:pt x="162" y="49"/>
                  </a:lnTo>
                  <a:lnTo>
                    <a:pt x="171" y="52"/>
                  </a:lnTo>
                  <a:lnTo>
                    <a:pt x="178" y="55"/>
                  </a:lnTo>
                  <a:lnTo>
                    <a:pt x="186" y="60"/>
                  </a:lnTo>
                  <a:lnTo>
                    <a:pt x="193" y="65"/>
                  </a:lnTo>
                  <a:lnTo>
                    <a:pt x="200" y="72"/>
                  </a:lnTo>
                  <a:lnTo>
                    <a:pt x="205" y="78"/>
                  </a:lnTo>
                  <a:lnTo>
                    <a:pt x="210" y="84"/>
                  </a:lnTo>
                  <a:lnTo>
                    <a:pt x="215" y="92"/>
                  </a:lnTo>
                  <a:lnTo>
                    <a:pt x="219" y="99"/>
                  </a:lnTo>
                  <a:lnTo>
                    <a:pt x="221" y="108"/>
                  </a:lnTo>
                  <a:lnTo>
                    <a:pt x="223" y="117"/>
                  </a:lnTo>
                  <a:lnTo>
                    <a:pt x="225" y="126"/>
                  </a:lnTo>
                  <a:lnTo>
                    <a:pt x="225" y="135"/>
                  </a:lnTo>
                  <a:lnTo>
                    <a:pt x="225" y="144"/>
                  </a:lnTo>
                  <a:lnTo>
                    <a:pt x="223" y="153"/>
                  </a:lnTo>
                  <a:lnTo>
                    <a:pt x="221" y="162"/>
                  </a:lnTo>
                  <a:lnTo>
                    <a:pt x="219" y="170"/>
                  </a:lnTo>
                  <a:lnTo>
                    <a:pt x="215" y="178"/>
                  </a:lnTo>
                  <a:lnTo>
                    <a:pt x="210" y="185"/>
                  </a:lnTo>
                  <a:lnTo>
                    <a:pt x="205" y="193"/>
                  </a:lnTo>
                  <a:lnTo>
                    <a:pt x="200" y="199"/>
                  </a:lnTo>
                  <a:lnTo>
                    <a:pt x="193" y="204"/>
                  </a:lnTo>
                  <a:lnTo>
                    <a:pt x="186" y="210"/>
                  </a:lnTo>
                  <a:lnTo>
                    <a:pt x="178" y="214"/>
                  </a:lnTo>
                  <a:lnTo>
                    <a:pt x="171" y="218"/>
                  </a:lnTo>
                  <a:lnTo>
                    <a:pt x="162" y="221"/>
                  </a:lnTo>
                  <a:lnTo>
                    <a:pt x="153" y="224"/>
                  </a:lnTo>
                  <a:lnTo>
                    <a:pt x="145" y="225"/>
                  </a:lnTo>
                  <a:lnTo>
                    <a:pt x="135" y="225"/>
                  </a:lnTo>
                  <a:close/>
                  <a:moveTo>
                    <a:pt x="135" y="0"/>
                  </a:moveTo>
                  <a:lnTo>
                    <a:pt x="121" y="1"/>
                  </a:lnTo>
                  <a:lnTo>
                    <a:pt x="108" y="3"/>
                  </a:lnTo>
                  <a:lnTo>
                    <a:pt x="95" y="6"/>
                  </a:lnTo>
                  <a:lnTo>
                    <a:pt x="83" y="10"/>
                  </a:lnTo>
                  <a:lnTo>
                    <a:pt x="71" y="16"/>
                  </a:lnTo>
                  <a:lnTo>
                    <a:pt x="60" y="23"/>
                  </a:lnTo>
                  <a:lnTo>
                    <a:pt x="49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60"/>
                  </a:lnTo>
                  <a:lnTo>
                    <a:pt x="16" y="70"/>
                  </a:lnTo>
                  <a:lnTo>
                    <a:pt x="11" y="82"/>
                  </a:lnTo>
                  <a:lnTo>
                    <a:pt x="6" y="95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1" y="149"/>
                  </a:lnTo>
                  <a:lnTo>
                    <a:pt x="3" y="163"/>
                  </a:lnTo>
                  <a:lnTo>
                    <a:pt x="6" y="176"/>
                  </a:lnTo>
                  <a:lnTo>
                    <a:pt x="11" y="187"/>
                  </a:lnTo>
                  <a:lnTo>
                    <a:pt x="16" y="199"/>
                  </a:lnTo>
                  <a:lnTo>
                    <a:pt x="24" y="211"/>
                  </a:lnTo>
                  <a:lnTo>
                    <a:pt x="31" y="221"/>
                  </a:lnTo>
                  <a:lnTo>
                    <a:pt x="40" y="230"/>
                  </a:lnTo>
                  <a:lnTo>
                    <a:pt x="49" y="239"/>
                  </a:lnTo>
                  <a:lnTo>
                    <a:pt x="60" y="247"/>
                  </a:lnTo>
                  <a:lnTo>
                    <a:pt x="71" y="254"/>
                  </a:lnTo>
                  <a:lnTo>
                    <a:pt x="83" y="259"/>
                  </a:lnTo>
                  <a:lnTo>
                    <a:pt x="95" y="265"/>
                  </a:lnTo>
                  <a:lnTo>
                    <a:pt x="108" y="268"/>
                  </a:lnTo>
                  <a:lnTo>
                    <a:pt x="121" y="270"/>
                  </a:lnTo>
                  <a:lnTo>
                    <a:pt x="135" y="270"/>
                  </a:lnTo>
                  <a:lnTo>
                    <a:pt x="149" y="270"/>
                  </a:lnTo>
                  <a:lnTo>
                    <a:pt x="163" y="268"/>
                  </a:lnTo>
                  <a:lnTo>
                    <a:pt x="176" y="265"/>
                  </a:lnTo>
                  <a:lnTo>
                    <a:pt x="188" y="259"/>
                  </a:lnTo>
                  <a:lnTo>
                    <a:pt x="200" y="254"/>
                  </a:lnTo>
                  <a:lnTo>
                    <a:pt x="211" y="247"/>
                  </a:lnTo>
                  <a:lnTo>
                    <a:pt x="221" y="239"/>
                  </a:lnTo>
                  <a:lnTo>
                    <a:pt x="231" y="230"/>
                  </a:lnTo>
                  <a:lnTo>
                    <a:pt x="239" y="221"/>
                  </a:lnTo>
                  <a:lnTo>
                    <a:pt x="248" y="211"/>
                  </a:lnTo>
                  <a:lnTo>
                    <a:pt x="254" y="199"/>
                  </a:lnTo>
                  <a:lnTo>
                    <a:pt x="260" y="187"/>
                  </a:lnTo>
                  <a:lnTo>
                    <a:pt x="265" y="176"/>
                  </a:lnTo>
                  <a:lnTo>
                    <a:pt x="268" y="163"/>
                  </a:lnTo>
                  <a:lnTo>
                    <a:pt x="270" y="149"/>
                  </a:lnTo>
                  <a:lnTo>
                    <a:pt x="270" y="135"/>
                  </a:lnTo>
                  <a:lnTo>
                    <a:pt x="270" y="121"/>
                  </a:lnTo>
                  <a:lnTo>
                    <a:pt x="268" y="108"/>
                  </a:lnTo>
                  <a:lnTo>
                    <a:pt x="265" y="95"/>
                  </a:lnTo>
                  <a:lnTo>
                    <a:pt x="260" y="82"/>
                  </a:lnTo>
                  <a:lnTo>
                    <a:pt x="254" y="70"/>
                  </a:lnTo>
                  <a:lnTo>
                    <a:pt x="248" y="60"/>
                  </a:lnTo>
                  <a:lnTo>
                    <a:pt x="239" y="49"/>
                  </a:lnTo>
                  <a:lnTo>
                    <a:pt x="231" y="39"/>
                  </a:lnTo>
                  <a:lnTo>
                    <a:pt x="221" y="31"/>
                  </a:lnTo>
                  <a:lnTo>
                    <a:pt x="211" y="23"/>
                  </a:lnTo>
                  <a:lnTo>
                    <a:pt x="200" y="16"/>
                  </a:lnTo>
                  <a:lnTo>
                    <a:pt x="188" y="10"/>
                  </a:lnTo>
                  <a:lnTo>
                    <a:pt x="176" y="6"/>
                  </a:lnTo>
                  <a:lnTo>
                    <a:pt x="163" y="3"/>
                  </a:lnTo>
                  <a:lnTo>
                    <a:pt x="149" y="1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3858"/>
            <p:cNvSpPr>
              <a:spLocks noEditPoints="1"/>
            </p:cNvSpPr>
            <p:nvPr/>
          </p:nvSpPr>
          <p:spPr bwMode="auto">
            <a:xfrm>
              <a:off x="8161338" y="2565400"/>
              <a:ext cx="285750" cy="166688"/>
            </a:xfrm>
            <a:custGeom>
              <a:avLst/>
              <a:gdLst>
                <a:gd name="T0" fmla="*/ 417 w 901"/>
                <a:gd name="T1" fmla="*/ 417 h 525"/>
                <a:gd name="T2" fmla="*/ 372 w 901"/>
                <a:gd name="T3" fmla="*/ 401 h 525"/>
                <a:gd name="T4" fmla="*/ 333 w 901"/>
                <a:gd name="T5" fmla="*/ 372 h 525"/>
                <a:gd name="T6" fmla="*/ 305 w 901"/>
                <a:gd name="T7" fmla="*/ 334 h 525"/>
                <a:gd name="T8" fmla="*/ 288 w 901"/>
                <a:gd name="T9" fmla="*/ 288 h 525"/>
                <a:gd name="T10" fmla="*/ 286 w 901"/>
                <a:gd name="T11" fmla="*/ 238 h 525"/>
                <a:gd name="T12" fmla="*/ 298 w 901"/>
                <a:gd name="T13" fmla="*/ 190 h 525"/>
                <a:gd name="T14" fmla="*/ 323 w 901"/>
                <a:gd name="T15" fmla="*/ 150 h 525"/>
                <a:gd name="T16" fmla="*/ 358 w 901"/>
                <a:gd name="T17" fmla="*/ 118 h 525"/>
                <a:gd name="T18" fmla="*/ 401 w 901"/>
                <a:gd name="T19" fmla="*/ 97 h 525"/>
                <a:gd name="T20" fmla="*/ 450 w 901"/>
                <a:gd name="T21" fmla="*/ 90 h 525"/>
                <a:gd name="T22" fmla="*/ 499 w 901"/>
                <a:gd name="T23" fmla="*/ 97 h 525"/>
                <a:gd name="T24" fmla="*/ 542 w 901"/>
                <a:gd name="T25" fmla="*/ 118 h 525"/>
                <a:gd name="T26" fmla="*/ 578 w 901"/>
                <a:gd name="T27" fmla="*/ 150 h 525"/>
                <a:gd name="T28" fmla="*/ 602 w 901"/>
                <a:gd name="T29" fmla="*/ 190 h 525"/>
                <a:gd name="T30" fmla="*/ 614 w 901"/>
                <a:gd name="T31" fmla="*/ 238 h 525"/>
                <a:gd name="T32" fmla="*/ 612 w 901"/>
                <a:gd name="T33" fmla="*/ 288 h 525"/>
                <a:gd name="T34" fmla="*/ 596 w 901"/>
                <a:gd name="T35" fmla="*/ 334 h 525"/>
                <a:gd name="T36" fmla="*/ 567 w 901"/>
                <a:gd name="T37" fmla="*/ 372 h 525"/>
                <a:gd name="T38" fmla="*/ 530 w 901"/>
                <a:gd name="T39" fmla="*/ 401 h 525"/>
                <a:gd name="T40" fmla="*/ 483 w 901"/>
                <a:gd name="T41" fmla="*/ 417 h 525"/>
                <a:gd name="T42" fmla="*/ 450 w 901"/>
                <a:gd name="T43" fmla="*/ 420 h 525"/>
                <a:gd name="T44" fmla="*/ 862 w 901"/>
                <a:gd name="T45" fmla="*/ 205 h 525"/>
                <a:gd name="T46" fmla="*/ 796 w 901"/>
                <a:gd name="T47" fmla="*/ 145 h 525"/>
                <a:gd name="T48" fmla="*/ 705 w 901"/>
                <a:gd name="T49" fmla="*/ 80 h 525"/>
                <a:gd name="T50" fmla="*/ 650 w 901"/>
                <a:gd name="T51" fmla="*/ 49 h 525"/>
                <a:gd name="T52" fmla="*/ 587 w 901"/>
                <a:gd name="T53" fmla="*/ 24 h 525"/>
                <a:gd name="T54" fmla="*/ 521 w 901"/>
                <a:gd name="T55" fmla="*/ 6 h 525"/>
                <a:gd name="T56" fmla="*/ 450 w 901"/>
                <a:gd name="T57" fmla="*/ 0 h 525"/>
                <a:gd name="T58" fmla="*/ 379 w 901"/>
                <a:gd name="T59" fmla="*/ 6 h 525"/>
                <a:gd name="T60" fmla="*/ 313 w 901"/>
                <a:gd name="T61" fmla="*/ 24 h 525"/>
                <a:gd name="T62" fmla="*/ 252 w 901"/>
                <a:gd name="T63" fmla="*/ 49 h 525"/>
                <a:gd name="T64" fmla="*/ 196 w 901"/>
                <a:gd name="T65" fmla="*/ 80 h 525"/>
                <a:gd name="T66" fmla="*/ 105 w 901"/>
                <a:gd name="T67" fmla="*/ 145 h 525"/>
                <a:gd name="T68" fmla="*/ 39 w 901"/>
                <a:gd name="T69" fmla="*/ 205 h 525"/>
                <a:gd name="T70" fmla="*/ 1 w 901"/>
                <a:gd name="T71" fmla="*/ 249 h 525"/>
                <a:gd name="T72" fmla="*/ 3 w 901"/>
                <a:gd name="T73" fmla="*/ 264 h 525"/>
                <a:gd name="T74" fmla="*/ 61 w 901"/>
                <a:gd name="T75" fmla="*/ 330 h 525"/>
                <a:gd name="T76" fmla="*/ 137 w 901"/>
                <a:gd name="T77" fmla="*/ 398 h 525"/>
                <a:gd name="T78" fmla="*/ 185 w 901"/>
                <a:gd name="T79" fmla="*/ 434 h 525"/>
                <a:gd name="T80" fmla="*/ 239 w 901"/>
                <a:gd name="T81" fmla="*/ 467 h 525"/>
                <a:gd name="T82" fmla="*/ 298 w 901"/>
                <a:gd name="T83" fmla="*/ 495 h 525"/>
                <a:gd name="T84" fmla="*/ 361 w 901"/>
                <a:gd name="T85" fmla="*/ 514 h 525"/>
                <a:gd name="T86" fmla="*/ 428 w 901"/>
                <a:gd name="T87" fmla="*/ 525 h 525"/>
                <a:gd name="T88" fmla="*/ 495 w 901"/>
                <a:gd name="T89" fmla="*/ 523 h 525"/>
                <a:gd name="T90" fmla="*/ 561 w 901"/>
                <a:gd name="T91" fmla="*/ 509 h 525"/>
                <a:gd name="T92" fmla="*/ 623 w 901"/>
                <a:gd name="T93" fmla="*/ 486 h 525"/>
                <a:gd name="T94" fmla="*/ 680 w 901"/>
                <a:gd name="T95" fmla="*/ 456 h 525"/>
                <a:gd name="T96" fmla="*/ 731 w 901"/>
                <a:gd name="T97" fmla="*/ 422 h 525"/>
                <a:gd name="T98" fmla="*/ 791 w 901"/>
                <a:gd name="T99" fmla="*/ 375 h 525"/>
                <a:gd name="T100" fmla="*/ 859 w 901"/>
                <a:gd name="T101" fmla="*/ 309 h 525"/>
                <a:gd name="T102" fmla="*/ 901 w 901"/>
                <a:gd name="T103" fmla="*/ 260 h 525"/>
                <a:gd name="T104" fmla="*/ 897 w 901"/>
                <a:gd name="T105" fmla="*/ 24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1" h="525">
                  <a:moveTo>
                    <a:pt x="450" y="420"/>
                  </a:moveTo>
                  <a:lnTo>
                    <a:pt x="433" y="419"/>
                  </a:lnTo>
                  <a:lnTo>
                    <a:pt x="417" y="417"/>
                  </a:lnTo>
                  <a:lnTo>
                    <a:pt x="401" y="412"/>
                  </a:lnTo>
                  <a:lnTo>
                    <a:pt x="386" y="407"/>
                  </a:lnTo>
                  <a:lnTo>
                    <a:pt x="372" y="401"/>
                  </a:lnTo>
                  <a:lnTo>
                    <a:pt x="358" y="392"/>
                  </a:lnTo>
                  <a:lnTo>
                    <a:pt x="345" y="382"/>
                  </a:lnTo>
                  <a:lnTo>
                    <a:pt x="333" y="372"/>
                  </a:lnTo>
                  <a:lnTo>
                    <a:pt x="323" y="360"/>
                  </a:lnTo>
                  <a:lnTo>
                    <a:pt x="313" y="347"/>
                  </a:lnTo>
                  <a:lnTo>
                    <a:pt x="305" y="334"/>
                  </a:lnTo>
                  <a:lnTo>
                    <a:pt x="298" y="319"/>
                  </a:lnTo>
                  <a:lnTo>
                    <a:pt x="292" y="304"/>
                  </a:lnTo>
                  <a:lnTo>
                    <a:pt x="288" y="288"/>
                  </a:lnTo>
                  <a:lnTo>
                    <a:pt x="286" y="272"/>
                  </a:lnTo>
                  <a:lnTo>
                    <a:pt x="285" y="255"/>
                  </a:lnTo>
                  <a:lnTo>
                    <a:pt x="286" y="238"/>
                  </a:lnTo>
                  <a:lnTo>
                    <a:pt x="288" y="222"/>
                  </a:lnTo>
                  <a:lnTo>
                    <a:pt x="292" y="205"/>
                  </a:lnTo>
                  <a:lnTo>
                    <a:pt x="298" y="190"/>
                  </a:lnTo>
                  <a:lnTo>
                    <a:pt x="305" y="177"/>
                  </a:lnTo>
                  <a:lnTo>
                    <a:pt x="313" y="163"/>
                  </a:lnTo>
                  <a:lnTo>
                    <a:pt x="323" y="150"/>
                  </a:lnTo>
                  <a:lnTo>
                    <a:pt x="333" y="138"/>
                  </a:lnTo>
                  <a:lnTo>
                    <a:pt x="345" y="127"/>
                  </a:lnTo>
                  <a:lnTo>
                    <a:pt x="358" y="118"/>
                  </a:lnTo>
                  <a:lnTo>
                    <a:pt x="372" y="110"/>
                  </a:lnTo>
                  <a:lnTo>
                    <a:pt x="386" y="103"/>
                  </a:lnTo>
                  <a:lnTo>
                    <a:pt x="401" y="97"/>
                  </a:lnTo>
                  <a:lnTo>
                    <a:pt x="417" y="93"/>
                  </a:lnTo>
                  <a:lnTo>
                    <a:pt x="433" y="91"/>
                  </a:lnTo>
                  <a:lnTo>
                    <a:pt x="450" y="90"/>
                  </a:lnTo>
                  <a:lnTo>
                    <a:pt x="467" y="91"/>
                  </a:lnTo>
                  <a:lnTo>
                    <a:pt x="483" y="93"/>
                  </a:lnTo>
                  <a:lnTo>
                    <a:pt x="499" y="97"/>
                  </a:lnTo>
                  <a:lnTo>
                    <a:pt x="515" y="103"/>
                  </a:lnTo>
                  <a:lnTo>
                    <a:pt x="530" y="110"/>
                  </a:lnTo>
                  <a:lnTo>
                    <a:pt x="542" y="118"/>
                  </a:lnTo>
                  <a:lnTo>
                    <a:pt x="555" y="127"/>
                  </a:lnTo>
                  <a:lnTo>
                    <a:pt x="567" y="138"/>
                  </a:lnTo>
                  <a:lnTo>
                    <a:pt x="578" y="150"/>
                  </a:lnTo>
                  <a:lnTo>
                    <a:pt x="587" y="163"/>
                  </a:lnTo>
                  <a:lnTo>
                    <a:pt x="596" y="177"/>
                  </a:lnTo>
                  <a:lnTo>
                    <a:pt x="602" y="190"/>
                  </a:lnTo>
                  <a:lnTo>
                    <a:pt x="608" y="205"/>
                  </a:lnTo>
                  <a:lnTo>
                    <a:pt x="612" y="222"/>
                  </a:lnTo>
                  <a:lnTo>
                    <a:pt x="614" y="238"/>
                  </a:lnTo>
                  <a:lnTo>
                    <a:pt x="615" y="255"/>
                  </a:lnTo>
                  <a:lnTo>
                    <a:pt x="614" y="272"/>
                  </a:lnTo>
                  <a:lnTo>
                    <a:pt x="612" y="288"/>
                  </a:lnTo>
                  <a:lnTo>
                    <a:pt x="608" y="304"/>
                  </a:lnTo>
                  <a:lnTo>
                    <a:pt x="602" y="319"/>
                  </a:lnTo>
                  <a:lnTo>
                    <a:pt x="596" y="334"/>
                  </a:lnTo>
                  <a:lnTo>
                    <a:pt x="587" y="347"/>
                  </a:lnTo>
                  <a:lnTo>
                    <a:pt x="578" y="360"/>
                  </a:lnTo>
                  <a:lnTo>
                    <a:pt x="567" y="372"/>
                  </a:lnTo>
                  <a:lnTo>
                    <a:pt x="555" y="382"/>
                  </a:lnTo>
                  <a:lnTo>
                    <a:pt x="542" y="392"/>
                  </a:lnTo>
                  <a:lnTo>
                    <a:pt x="530" y="401"/>
                  </a:lnTo>
                  <a:lnTo>
                    <a:pt x="515" y="407"/>
                  </a:lnTo>
                  <a:lnTo>
                    <a:pt x="499" y="412"/>
                  </a:lnTo>
                  <a:lnTo>
                    <a:pt x="483" y="417"/>
                  </a:lnTo>
                  <a:lnTo>
                    <a:pt x="467" y="420"/>
                  </a:lnTo>
                  <a:lnTo>
                    <a:pt x="450" y="420"/>
                  </a:lnTo>
                  <a:lnTo>
                    <a:pt x="450" y="420"/>
                  </a:lnTo>
                  <a:close/>
                  <a:moveTo>
                    <a:pt x="897" y="245"/>
                  </a:moveTo>
                  <a:lnTo>
                    <a:pt x="888" y="233"/>
                  </a:lnTo>
                  <a:lnTo>
                    <a:pt x="862" y="205"/>
                  </a:lnTo>
                  <a:lnTo>
                    <a:pt x="843" y="187"/>
                  </a:lnTo>
                  <a:lnTo>
                    <a:pt x="821" y="167"/>
                  </a:lnTo>
                  <a:lnTo>
                    <a:pt x="796" y="145"/>
                  </a:lnTo>
                  <a:lnTo>
                    <a:pt x="768" y="123"/>
                  </a:lnTo>
                  <a:lnTo>
                    <a:pt x="738" y="101"/>
                  </a:lnTo>
                  <a:lnTo>
                    <a:pt x="705" y="80"/>
                  </a:lnTo>
                  <a:lnTo>
                    <a:pt x="687" y="69"/>
                  </a:lnTo>
                  <a:lnTo>
                    <a:pt x="669" y="60"/>
                  </a:lnTo>
                  <a:lnTo>
                    <a:pt x="650" y="49"/>
                  </a:lnTo>
                  <a:lnTo>
                    <a:pt x="629" y="40"/>
                  </a:lnTo>
                  <a:lnTo>
                    <a:pt x="609" y="32"/>
                  </a:lnTo>
                  <a:lnTo>
                    <a:pt x="587" y="24"/>
                  </a:lnTo>
                  <a:lnTo>
                    <a:pt x="566" y="17"/>
                  </a:lnTo>
                  <a:lnTo>
                    <a:pt x="543" y="11"/>
                  </a:lnTo>
                  <a:lnTo>
                    <a:pt x="521" y="6"/>
                  </a:lnTo>
                  <a:lnTo>
                    <a:pt x="497" y="3"/>
                  </a:lnTo>
                  <a:lnTo>
                    <a:pt x="474" y="1"/>
                  </a:lnTo>
                  <a:lnTo>
                    <a:pt x="450" y="0"/>
                  </a:lnTo>
                  <a:lnTo>
                    <a:pt x="427" y="1"/>
                  </a:lnTo>
                  <a:lnTo>
                    <a:pt x="403" y="3"/>
                  </a:lnTo>
                  <a:lnTo>
                    <a:pt x="379" y="6"/>
                  </a:lnTo>
                  <a:lnTo>
                    <a:pt x="357" y="11"/>
                  </a:lnTo>
                  <a:lnTo>
                    <a:pt x="334" y="17"/>
                  </a:lnTo>
                  <a:lnTo>
                    <a:pt x="313" y="24"/>
                  </a:lnTo>
                  <a:lnTo>
                    <a:pt x="291" y="32"/>
                  </a:lnTo>
                  <a:lnTo>
                    <a:pt x="271" y="40"/>
                  </a:lnTo>
                  <a:lnTo>
                    <a:pt x="252" y="49"/>
                  </a:lnTo>
                  <a:lnTo>
                    <a:pt x="232" y="60"/>
                  </a:lnTo>
                  <a:lnTo>
                    <a:pt x="213" y="69"/>
                  </a:lnTo>
                  <a:lnTo>
                    <a:pt x="196" y="80"/>
                  </a:lnTo>
                  <a:lnTo>
                    <a:pt x="163" y="101"/>
                  </a:lnTo>
                  <a:lnTo>
                    <a:pt x="133" y="123"/>
                  </a:lnTo>
                  <a:lnTo>
                    <a:pt x="105" y="145"/>
                  </a:lnTo>
                  <a:lnTo>
                    <a:pt x="79" y="167"/>
                  </a:lnTo>
                  <a:lnTo>
                    <a:pt x="58" y="187"/>
                  </a:lnTo>
                  <a:lnTo>
                    <a:pt x="39" y="205"/>
                  </a:lnTo>
                  <a:lnTo>
                    <a:pt x="13" y="233"/>
                  </a:lnTo>
                  <a:lnTo>
                    <a:pt x="3" y="245"/>
                  </a:lnTo>
                  <a:lnTo>
                    <a:pt x="1" y="249"/>
                  </a:lnTo>
                  <a:lnTo>
                    <a:pt x="0" y="255"/>
                  </a:lnTo>
                  <a:lnTo>
                    <a:pt x="0" y="260"/>
                  </a:lnTo>
                  <a:lnTo>
                    <a:pt x="3" y="264"/>
                  </a:lnTo>
                  <a:lnTo>
                    <a:pt x="14" y="278"/>
                  </a:lnTo>
                  <a:lnTo>
                    <a:pt x="42" y="309"/>
                  </a:lnTo>
                  <a:lnTo>
                    <a:pt x="61" y="330"/>
                  </a:lnTo>
                  <a:lnTo>
                    <a:pt x="83" y="351"/>
                  </a:lnTo>
                  <a:lnTo>
                    <a:pt x="109" y="375"/>
                  </a:lnTo>
                  <a:lnTo>
                    <a:pt x="137" y="398"/>
                  </a:lnTo>
                  <a:lnTo>
                    <a:pt x="153" y="410"/>
                  </a:lnTo>
                  <a:lnTo>
                    <a:pt x="169" y="422"/>
                  </a:lnTo>
                  <a:lnTo>
                    <a:pt x="185" y="434"/>
                  </a:lnTo>
                  <a:lnTo>
                    <a:pt x="203" y="446"/>
                  </a:lnTo>
                  <a:lnTo>
                    <a:pt x="221" y="456"/>
                  </a:lnTo>
                  <a:lnTo>
                    <a:pt x="239" y="467"/>
                  </a:lnTo>
                  <a:lnTo>
                    <a:pt x="258" y="477"/>
                  </a:lnTo>
                  <a:lnTo>
                    <a:pt x="277" y="486"/>
                  </a:lnTo>
                  <a:lnTo>
                    <a:pt x="298" y="495"/>
                  </a:lnTo>
                  <a:lnTo>
                    <a:pt x="318" y="502"/>
                  </a:lnTo>
                  <a:lnTo>
                    <a:pt x="340" y="509"/>
                  </a:lnTo>
                  <a:lnTo>
                    <a:pt x="361" y="514"/>
                  </a:lnTo>
                  <a:lnTo>
                    <a:pt x="383" y="520"/>
                  </a:lnTo>
                  <a:lnTo>
                    <a:pt x="405" y="523"/>
                  </a:lnTo>
                  <a:lnTo>
                    <a:pt x="428" y="525"/>
                  </a:lnTo>
                  <a:lnTo>
                    <a:pt x="450" y="525"/>
                  </a:lnTo>
                  <a:lnTo>
                    <a:pt x="473" y="525"/>
                  </a:lnTo>
                  <a:lnTo>
                    <a:pt x="495" y="523"/>
                  </a:lnTo>
                  <a:lnTo>
                    <a:pt x="518" y="520"/>
                  </a:lnTo>
                  <a:lnTo>
                    <a:pt x="539" y="514"/>
                  </a:lnTo>
                  <a:lnTo>
                    <a:pt x="561" y="509"/>
                  </a:lnTo>
                  <a:lnTo>
                    <a:pt x="582" y="502"/>
                  </a:lnTo>
                  <a:lnTo>
                    <a:pt x="602" y="495"/>
                  </a:lnTo>
                  <a:lnTo>
                    <a:pt x="623" y="486"/>
                  </a:lnTo>
                  <a:lnTo>
                    <a:pt x="642" y="477"/>
                  </a:lnTo>
                  <a:lnTo>
                    <a:pt x="661" y="467"/>
                  </a:lnTo>
                  <a:lnTo>
                    <a:pt x="680" y="456"/>
                  </a:lnTo>
                  <a:lnTo>
                    <a:pt x="698" y="446"/>
                  </a:lnTo>
                  <a:lnTo>
                    <a:pt x="715" y="434"/>
                  </a:lnTo>
                  <a:lnTo>
                    <a:pt x="731" y="422"/>
                  </a:lnTo>
                  <a:lnTo>
                    <a:pt x="747" y="410"/>
                  </a:lnTo>
                  <a:lnTo>
                    <a:pt x="763" y="398"/>
                  </a:lnTo>
                  <a:lnTo>
                    <a:pt x="791" y="375"/>
                  </a:lnTo>
                  <a:lnTo>
                    <a:pt x="817" y="351"/>
                  </a:lnTo>
                  <a:lnTo>
                    <a:pt x="839" y="330"/>
                  </a:lnTo>
                  <a:lnTo>
                    <a:pt x="859" y="309"/>
                  </a:lnTo>
                  <a:lnTo>
                    <a:pt x="887" y="278"/>
                  </a:lnTo>
                  <a:lnTo>
                    <a:pt x="898" y="264"/>
                  </a:lnTo>
                  <a:lnTo>
                    <a:pt x="901" y="260"/>
                  </a:lnTo>
                  <a:lnTo>
                    <a:pt x="901" y="255"/>
                  </a:lnTo>
                  <a:lnTo>
                    <a:pt x="901" y="249"/>
                  </a:lnTo>
                  <a:lnTo>
                    <a:pt x="897" y="245"/>
                  </a:lnTo>
                  <a:lnTo>
                    <a:pt x="897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98" name="Freeform 830"/>
          <p:cNvSpPr>
            <a:spLocks noEditPoints="1"/>
          </p:cNvSpPr>
          <p:nvPr/>
        </p:nvSpPr>
        <p:spPr bwMode="auto">
          <a:xfrm>
            <a:off x="9501528" y="2376848"/>
            <a:ext cx="287338" cy="239713"/>
          </a:xfrm>
          <a:custGeom>
            <a:avLst/>
            <a:gdLst>
              <a:gd name="T0" fmla="*/ 145 w 723"/>
              <a:gd name="T1" fmla="*/ 524 h 601"/>
              <a:gd name="T2" fmla="*/ 143 w 723"/>
              <a:gd name="T3" fmla="*/ 537 h 601"/>
              <a:gd name="T4" fmla="*/ 138 w 723"/>
              <a:gd name="T5" fmla="*/ 548 h 601"/>
              <a:gd name="T6" fmla="*/ 132 w 723"/>
              <a:gd name="T7" fmla="*/ 558 h 601"/>
              <a:gd name="T8" fmla="*/ 124 w 723"/>
              <a:gd name="T9" fmla="*/ 566 h 601"/>
              <a:gd name="T10" fmla="*/ 115 w 723"/>
              <a:gd name="T11" fmla="*/ 571 h 601"/>
              <a:gd name="T12" fmla="*/ 104 w 723"/>
              <a:gd name="T13" fmla="*/ 575 h 601"/>
              <a:gd name="T14" fmla="*/ 92 w 723"/>
              <a:gd name="T15" fmla="*/ 577 h 601"/>
              <a:gd name="T16" fmla="*/ 78 w 723"/>
              <a:gd name="T17" fmla="*/ 577 h 601"/>
              <a:gd name="T18" fmla="*/ 66 w 723"/>
              <a:gd name="T19" fmla="*/ 575 h 601"/>
              <a:gd name="T20" fmla="*/ 55 w 723"/>
              <a:gd name="T21" fmla="*/ 571 h 601"/>
              <a:gd name="T22" fmla="*/ 46 w 723"/>
              <a:gd name="T23" fmla="*/ 565 h 601"/>
              <a:gd name="T24" fmla="*/ 38 w 723"/>
              <a:gd name="T25" fmla="*/ 556 h 601"/>
              <a:gd name="T26" fmla="*/ 31 w 723"/>
              <a:gd name="T27" fmla="*/ 547 h 601"/>
              <a:gd name="T28" fmla="*/ 26 w 723"/>
              <a:gd name="T29" fmla="*/ 536 h 601"/>
              <a:gd name="T30" fmla="*/ 24 w 723"/>
              <a:gd name="T31" fmla="*/ 524 h 601"/>
              <a:gd name="T32" fmla="*/ 24 w 723"/>
              <a:gd name="T33" fmla="*/ 23 h 601"/>
              <a:gd name="T34" fmla="*/ 217 w 723"/>
              <a:gd name="T35" fmla="*/ 60 h 601"/>
              <a:gd name="T36" fmla="*/ 220 w 723"/>
              <a:gd name="T37" fmla="*/ 68 h 601"/>
              <a:gd name="T38" fmla="*/ 229 w 723"/>
              <a:gd name="T39" fmla="*/ 72 h 601"/>
              <a:gd name="T40" fmla="*/ 602 w 723"/>
              <a:gd name="T41" fmla="*/ 120 h 601"/>
              <a:gd name="T42" fmla="*/ 152 w 723"/>
              <a:gd name="T43" fmla="*/ 121 h 601"/>
              <a:gd name="T44" fmla="*/ 146 w 723"/>
              <a:gd name="T45" fmla="*/ 127 h 601"/>
              <a:gd name="T46" fmla="*/ 145 w 723"/>
              <a:gd name="T47" fmla="*/ 518 h 601"/>
              <a:gd name="T48" fmla="*/ 626 w 723"/>
              <a:gd name="T49" fmla="*/ 120 h 601"/>
              <a:gd name="T50" fmla="*/ 625 w 723"/>
              <a:gd name="T51" fmla="*/ 56 h 601"/>
              <a:gd name="T52" fmla="*/ 619 w 723"/>
              <a:gd name="T53" fmla="*/ 49 h 601"/>
              <a:gd name="T54" fmla="*/ 240 w 723"/>
              <a:gd name="T55" fmla="*/ 48 h 601"/>
              <a:gd name="T56" fmla="*/ 240 w 723"/>
              <a:gd name="T57" fmla="*/ 7 h 601"/>
              <a:gd name="T58" fmla="*/ 233 w 723"/>
              <a:gd name="T59" fmla="*/ 1 h 601"/>
              <a:gd name="T60" fmla="*/ 12 w 723"/>
              <a:gd name="T61" fmla="*/ 0 h 601"/>
              <a:gd name="T62" fmla="*/ 4 w 723"/>
              <a:gd name="T63" fmla="*/ 4 h 601"/>
              <a:gd name="T64" fmla="*/ 0 w 723"/>
              <a:gd name="T65" fmla="*/ 12 h 601"/>
              <a:gd name="T66" fmla="*/ 1 w 723"/>
              <a:gd name="T67" fmla="*/ 527 h 601"/>
              <a:gd name="T68" fmla="*/ 4 w 723"/>
              <a:gd name="T69" fmla="*/ 543 h 601"/>
              <a:gd name="T70" fmla="*/ 10 w 723"/>
              <a:gd name="T71" fmla="*/ 559 h 601"/>
              <a:gd name="T72" fmla="*/ 18 w 723"/>
              <a:gd name="T73" fmla="*/ 572 h 601"/>
              <a:gd name="T74" fmla="*/ 29 w 723"/>
              <a:gd name="T75" fmla="*/ 583 h 601"/>
              <a:gd name="T76" fmla="*/ 44 w 723"/>
              <a:gd name="T77" fmla="*/ 592 h 601"/>
              <a:gd name="T78" fmla="*/ 59 w 723"/>
              <a:gd name="T79" fmla="*/ 598 h 601"/>
              <a:gd name="T80" fmla="*/ 75 w 723"/>
              <a:gd name="T81" fmla="*/ 601 h 601"/>
              <a:gd name="T82" fmla="*/ 615 w 723"/>
              <a:gd name="T83" fmla="*/ 601 h 601"/>
              <a:gd name="T84" fmla="*/ 635 w 723"/>
              <a:gd name="T85" fmla="*/ 599 h 601"/>
              <a:gd name="T86" fmla="*/ 655 w 723"/>
              <a:gd name="T87" fmla="*/ 593 h 601"/>
              <a:gd name="T88" fmla="*/ 674 w 723"/>
              <a:gd name="T89" fmla="*/ 583 h 601"/>
              <a:gd name="T90" fmla="*/ 690 w 723"/>
              <a:gd name="T91" fmla="*/ 570 h 601"/>
              <a:gd name="T92" fmla="*/ 703 w 723"/>
              <a:gd name="T93" fmla="*/ 553 h 601"/>
              <a:gd name="T94" fmla="*/ 714 w 723"/>
              <a:gd name="T95" fmla="*/ 535 h 601"/>
              <a:gd name="T96" fmla="*/ 721 w 723"/>
              <a:gd name="T97" fmla="*/ 516 h 601"/>
              <a:gd name="T98" fmla="*/ 723 w 723"/>
              <a:gd name="T99" fmla="*/ 494 h 601"/>
              <a:gd name="T100" fmla="*/ 722 w 723"/>
              <a:gd name="T101" fmla="*/ 127 h 601"/>
              <a:gd name="T102" fmla="*/ 716 w 723"/>
              <a:gd name="T103" fmla="*/ 121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23" h="601">
                <a:moveTo>
                  <a:pt x="145" y="518"/>
                </a:moveTo>
                <a:lnTo>
                  <a:pt x="145" y="524"/>
                </a:lnTo>
                <a:lnTo>
                  <a:pt x="144" y="531"/>
                </a:lnTo>
                <a:lnTo>
                  <a:pt x="143" y="537"/>
                </a:lnTo>
                <a:lnTo>
                  <a:pt x="140" y="542"/>
                </a:lnTo>
                <a:lnTo>
                  <a:pt x="138" y="548"/>
                </a:lnTo>
                <a:lnTo>
                  <a:pt x="135" y="552"/>
                </a:lnTo>
                <a:lnTo>
                  <a:pt x="132" y="558"/>
                </a:lnTo>
                <a:lnTo>
                  <a:pt x="128" y="562"/>
                </a:lnTo>
                <a:lnTo>
                  <a:pt x="124" y="566"/>
                </a:lnTo>
                <a:lnTo>
                  <a:pt x="119" y="569"/>
                </a:lnTo>
                <a:lnTo>
                  <a:pt x="115" y="571"/>
                </a:lnTo>
                <a:lnTo>
                  <a:pt x="109" y="574"/>
                </a:lnTo>
                <a:lnTo>
                  <a:pt x="104" y="575"/>
                </a:lnTo>
                <a:lnTo>
                  <a:pt x="98" y="577"/>
                </a:lnTo>
                <a:lnTo>
                  <a:pt x="92" y="577"/>
                </a:lnTo>
                <a:lnTo>
                  <a:pt x="84" y="578"/>
                </a:lnTo>
                <a:lnTo>
                  <a:pt x="78" y="577"/>
                </a:lnTo>
                <a:lnTo>
                  <a:pt x="71" y="577"/>
                </a:lnTo>
                <a:lnTo>
                  <a:pt x="66" y="575"/>
                </a:lnTo>
                <a:lnTo>
                  <a:pt x="60" y="573"/>
                </a:lnTo>
                <a:lnTo>
                  <a:pt x="55" y="571"/>
                </a:lnTo>
                <a:lnTo>
                  <a:pt x="50" y="568"/>
                </a:lnTo>
                <a:lnTo>
                  <a:pt x="46" y="565"/>
                </a:lnTo>
                <a:lnTo>
                  <a:pt x="41" y="561"/>
                </a:lnTo>
                <a:lnTo>
                  <a:pt x="38" y="556"/>
                </a:lnTo>
                <a:lnTo>
                  <a:pt x="33" y="552"/>
                </a:lnTo>
                <a:lnTo>
                  <a:pt x="31" y="547"/>
                </a:lnTo>
                <a:lnTo>
                  <a:pt x="28" y="542"/>
                </a:lnTo>
                <a:lnTo>
                  <a:pt x="26" y="536"/>
                </a:lnTo>
                <a:lnTo>
                  <a:pt x="25" y="530"/>
                </a:lnTo>
                <a:lnTo>
                  <a:pt x="24" y="524"/>
                </a:lnTo>
                <a:lnTo>
                  <a:pt x="24" y="518"/>
                </a:lnTo>
                <a:lnTo>
                  <a:pt x="24" y="23"/>
                </a:lnTo>
                <a:lnTo>
                  <a:pt x="217" y="23"/>
                </a:lnTo>
                <a:lnTo>
                  <a:pt x="217" y="60"/>
                </a:lnTo>
                <a:lnTo>
                  <a:pt x="218" y="65"/>
                </a:lnTo>
                <a:lnTo>
                  <a:pt x="220" y="68"/>
                </a:lnTo>
                <a:lnTo>
                  <a:pt x="224" y="71"/>
                </a:lnTo>
                <a:lnTo>
                  <a:pt x="229" y="72"/>
                </a:lnTo>
                <a:lnTo>
                  <a:pt x="602" y="72"/>
                </a:lnTo>
                <a:lnTo>
                  <a:pt x="602" y="120"/>
                </a:lnTo>
                <a:lnTo>
                  <a:pt x="157" y="120"/>
                </a:lnTo>
                <a:lnTo>
                  <a:pt x="152" y="121"/>
                </a:lnTo>
                <a:lnTo>
                  <a:pt x="148" y="124"/>
                </a:lnTo>
                <a:lnTo>
                  <a:pt x="146" y="127"/>
                </a:lnTo>
                <a:lnTo>
                  <a:pt x="145" y="132"/>
                </a:lnTo>
                <a:lnTo>
                  <a:pt x="145" y="518"/>
                </a:lnTo>
                <a:close/>
                <a:moveTo>
                  <a:pt x="711" y="120"/>
                </a:moveTo>
                <a:lnTo>
                  <a:pt x="626" y="120"/>
                </a:lnTo>
                <a:lnTo>
                  <a:pt x="626" y="60"/>
                </a:lnTo>
                <a:lnTo>
                  <a:pt x="625" y="56"/>
                </a:lnTo>
                <a:lnTo>
                  <a:pt x="623" y="52"/>
                </a:lnTo>
                <a:lnTo>
                  <a:pt x="619" y="49"/>
                </a:lnTo>
                <a:lnTo>
                  <a:pt x="615" y="48"/>
                </a:lnTo>
                <a:lnTo>
                  <a:pt x="240" y="48"/>
                </a:lnTo>
                <a:lnTo>
                  <a:pt x="240" y="12"/>
                </a:lnTo>
                <a:lnTo>
                  <a:pt x="240" y="7"/>
                </a:lnTo>
                <a:lnTo>
                  <a:pt x="237" y="4"/>
                </a:lnTo>
                <a:lnTo>
                  <a:pt x="233" y="1"/>
                </a:lnTo>
                <a:lnTo>
                  <a:pt x="229" y="0"/>
                </a:lnTo>
                <a:lnTo>
                  <a:pt x="12" y="0"/>
                </a:lnTo>
                <a:lnTo>
                  <a:pt x="8" y="1"/>
                </a:lnTo>
                <a:lnTo>
                  <a:pt x="4" y="4"/>
                </a:lnTo>
                <a:lnTo>
                  <a:pt x="1" y="7"/>
                </a:lnTo>
                <a:lnTo>
                  <a:pt x="0" y="12"/>
                </a:lnTo>
                <a:lnTo>
                  <a:pt x="0" y="518"/>
                </a:lnTo>
                <a:lnTo>
                  <a:pt x="1" y="527"/>
                </a:lnTo>
                <a:lnTo>
                  <a:pt x="2" y="535"/>
                </a:lnTo>
                <a:lnTo>
                  <a:pt x="4" y="543"/>
                </a:lnTo>
                <a:lnTo>
                  <a:pt x="6" y="551"/>
                </a:lnTo>
                <a:lnTo>
                  <a:pt x="10" y="559"/>
                </a:lnTo>
                <a:lnTo>
                  <a:pt x="14" y="566"/>
                </a:lnTo>
                <a:lnTo>
                  <a:pt x="18" y="572"/>
                </a:lnTo>
                <a:lnTo>
                  <a:pt x="24" y="578"/>
                </a:lnTo>
                <a:lnTo>
                  <a:pt x="29" y="583"/>
                </a:lnTo>
                <a:lnTo>
                  <a:pt x="36" y="588"/>
                </a:lnTo>
                <a:lnTo>
                  <a:pt x="44" y="592"/>
                </a:lnTo>
                <a:lnTo>
                  <a:pt x="51" y="595"/>
                </a:lnTo>
                <a:lnTo>
                  <a:pt x="59" y="598"/>
                </a:lnTo>
                <a:lnTo>
                  <a:pt x="67" y="600"/>
                </a:lnTo>
                <a:lnTo>
                  <a:pt x="75" y="601"/>
                </a:lnTo>
                <a:lnTo>
                  <a:pt x="84" y="601"/>
                </a:lnTo>
                <a:lnTo>
                  <a:pt x="615" y="601"/>
                </a:lnTo>
                <a:lnTo>
                  <a:pt x="625" y="601"/>
                </a:lnTo>
                <a:lnTo>
                  <a:pt x="635" y="599"/>
                </a:lnTo>
                <a:lnTo>
                  <a:pt x="645" y="596"/>
                </a:lnTo>
                <a:lnTo>
                  <a:pt x="655" y="593"/>
                </a:lnTo>
                <a:lnTo>
                  <a:pt x="665" y="588"/>
                </a:lnTo>
                <a:lnTo>
                  <a:pt x="674" y="583"/>
                </a:lnTo>
                <a:lnTo>
                  <a:pt x="682" y="577"/>
                </a:lnTo>
                <a:lnTo>
                  <a:pt x="690" y="570"/>
                </a:lnTo>
                <a:lnTo>
                  <a:pt x="697" y="562"/>
                </a:lnTo>
                <a:lnTo>
                  <a:pt x="703" y="553"/>
                </a:lnTo>
                <a:lnTo>
                  <a:pt x="708" y="544"/>
                </a:lnTo>
                <a:lnTo>
                  <a:pt x="714" y="535"/>
                </a:lnTo>
                <a:lnTo>
                  <a:pt x="718" y="526"/>
                </a:lnTo>
                <a:lnTo>
                  <a:pt x="721" y="516"/>
                </a:lnTo>
                <a:lnTo>
                  <a:pt x="722" y="506"/>
                </a:lnTo>
                <a:lnTo>
                  <a:pt x="723" y="494"/>
                </a:lnTo>
                <a:lnTo>
                  <a:pt x="723" y="132"/>
                </a:lnTo>
                <a:lnTo>
                  <a:pt x="722" y="127"/>
                </a:lnTo>
                <a:lnTo>
                  <a:pt x="719" y="124"/>
                </a:lnTo>
                <a:lnTo>
                  <a:pt x="716" y="121"/>
                </a:lnTo>
                <a:lnTo>
                  <a:pt x="711" y="1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99" name="Freeform 4456"/>
          <p:cNvSpPr>
            <a:spLocks noEditPoints="1"/>
          </p:cNvSpPr>
          <p:nvPr/>
        </p:nvSpPr>
        <p:spPr bwMode="auto">
          <a:xfrm>
            <a:off x="10300680" y="4009015"/>
            <a:ext cx="217488" cy="219075"/>
          </a:xfrm>
          <a:custGeom>
            <a:avLst/>
            <a:gdLst>
              <a:gd name="T0" fmla="*/ 248 w 688"/>
              <a:gd name="T1" fmla="*/ 567 h 688"/>
              <a:gd name="T2" fmla="*/ 240 w 688"/>
              <a:gd name="T3" fmla="*/ 560 h 688"/>
              <a:gd name="T4" fmla="*/ 240 w 688"/>
              <a:gd name="T5" fmla="*/ 548 h 688"/>
              <a:gd name="T6" fmla="*/ 248 w 688"/>
              <a:gd name="T7" fmla="*/ 539 h 688"/>
              <a:gd name="T8" fmla="*/ 328 w 688"/>
              <a:gd name="T9" fmla="*/ 300 h 688"/>
              <a:gd name="T10" fmla="*/ 275 w 688"/>
              <a:gd name="T11" fmla="*/ 296 h 688"/>
              <a:gd name="T12" fmla="*/ 270 w 688"/>
              <a:gd name="T13" fmla="*/ 288 h 688"/>
              <a:gd name="T14" fmla="*/ 272 w 688"/>
              <a:gd name="T15" fmla="*/ 276 h 688"/>
              <a:gd name="T16" fmla="*/ 280 w 688"/>
              <a:gd name="T17" fmla="*/ 270 h 688"/>
              <a:gd name="T18" fmla="*/ 350 w 688"/>
              <a:gd name="T19" fmla="*/ 271 h 688"/>
              <a:gd name="T20" fmla="*/ 357 w 688"/>
              <a:gd name="T21" fmla="*/ 278 h 688"/>
              <a:gd name="T22" fmla="*/ 433 w 688"/>
              <a:gd name="T23" fmla="*/ 538 h 688"/>
              <a:gd name="T24" fmla="*/ 444 w 688"/>
              <a:gd name="T25" fmla="*/ 544 h 688"/>
              <a:gd name="T26" fmla="*/ 448 w 688"/>
              <a:gd name="T27" fmla="*/ 553 h 688"/>
              <a:gd name="T28" fmla="*/ 444 w 688"/>
              <a:gd name="T29" fmla="*/ 564 h 688"/>
              <a:gd name="T30" fmla="*/ 433 w 688"/>
              <a:gd name="T31" fmla="*/ 568 h 688"/>
              <a:gd name="T32" fmla="*/ 346 w 688"/>
              <a:gd name="T33" fmla="*/ 125 h 688"/>
              <a:gd name="T34" fmla="*/ 358 w 688"/>
              <a:gd name="T35" fmla="*/ 143 h 688"/>
              <a:gd name="T36" fmla="*/ 353 w 688"/>
              <a:gd name="T37" fmla="*/ 166 h 688"/>
              <a:gd name="T38" fmla="*/ 335 w 688"/>
              <a:gd name="T39" fmla="*/ 179 h 688"/>
              <a:gd name="T40" fmla="*/ 312 w 688"/>
              <a:gd name="T41" fmla="*/ 174 h 688"/>
              <a:gd name="T42" fmla="*/ 300 w 688"/>
              <a:gd name="T43" fmla="*/ 155 h 688"/>
              <a:gd name="T44" fmla="*/ 304 w 688"/>
              <a:gd name="T45" fmla="*/ 133 h 688"/>
              <a:gd name="T46" fmla="*/ 323 w 688"/>
              <a:gd name="T47" fmla="*/ 120 h 688"/>
              <a:gd name="T48" fmla="*/ 308 w 688"/>
              <a:gd name="T49" fmla="*/ 2 h 688"/>
              <a:gd name="T50" fmla="*/ 242 w 688"/>
              <a:gd name="T51" fmla="*/ 16 h 688"/>
              <a:gd name="T52" fmla="*/ 180 w 688"/>
              <a:gd name="T53" fmla="*/ 42 h 688"/>
              <a:gd name="T54" fmla="*/ 125 w 688"/>
              <a:gd name="T55" fmla="*/ 79 h 688"/>
              <a:gd name="T56" fmla="*/ 78 w 688"/>
              <a:gd name="T57" fmla="*/ 126 h 688"/>
              <a:gd name="T58" fmla="*/ 42 w 688"/>
              <a:gd name="T59" fmla="*/ 181 h 688"/>
              <a:gd name="T60" fmla="*/ 15 w 688"/>
              <a:gd name="T61" fmla="*/ 242 h 688"/>
              <a:gd name="T62" fmla="*/ 1 w 688"/>
              <a:gd name="T63" fmla="*/ 309 h 688"/>
              <a:gd name="T64" fmla="*/ 1 w 688"/>
              <a:gd name="T65" fmla="*/ 379 h 688"/>
              <a:gd name="T66" fmla="*/ 15 w 688"/>
              <a:gd name="T67" fmla="*/ 446 h 688"/>
              <a:gd name="T68" fmla="*/ 42 w 688"/>
              <a:gd name="T69" fmla="*/ 508 h 688"/>
              <a:gd name="T70" fmla="*/ 78 w 688"/>
              <a:gd name="T71" fmla="*/ 563 h 688"/>
              <a:gd name="T72" fmla="*/ 125 w 688"/>
              <a:gd name="T73" fmla="*/ 610 h 688"/>
              <a:gd name="T74" fmla="*/ 180 w 688"/>
              <a:gd name="T75" fmla="*/ 646 h 688"/>
              <a:gd name="T76" fmla="*/ 242 w 688"/>
              <a:gd name="T77" fmla="*/ 673 h 688"/>
              <a:gd name="T78" fmla="*/ 308 w 688"/>
              <a:gd name="T79" fmla="*/ 686 h 688"/>
              <a:gd name="T80" fmla="*/ 379 w 688"/>
              <a:gd name="T81" fmla="*/ 686 h 688"/>
              <a:gd name="T82" fmla="*/ 446 w 688"/>
              <a:gd name="T83" fmla="*/ 673 h 688"/>
              <a:gd name="T84" fmla="*/ 507 w 688"/>
              <a:gd name="T85" fmla="*/ 646 h 688"/>
              <a:gd name="T86" fmla="*/ 563 w 688"/>
              <a:gd name="T87" fmla="*/ 610 h 688"/>
              <a:gd name="T88" fmla="*/ 609 w 688"/>
              <a:gd name="T89" fmla="*/ 563 h 688"/>
              <a:gd name="T90" fmla="*/ 646 w 688"/>
              <a:gd name="T91" fmla="*/ 508 h 688"/>
              <a:gd name="T92" fmla="*/ 672 w 688"/>
              <a:gd name="T93" fmla="*/ 446 h 688"/>
              <a:gd name="T94" fmla="*/ 686 w 688"/>
              <a:gd name="T95" fmla="*/ 379 h 688"/>
              <a:gd name="T96" fmla="*/ 686 w 688"/>
              <a:gd name="T97" fmla="*/ 309 h 688"/>
              <a:gd name="T98" fmla="*/ 672 w 688"/>
              <a:gd name="T99" fmla="*/ 242 h 688"/>
              <a:gd name="T100" fmla="*/ 646 w 688"/>
              <a:gd name="T101" fmla="*/ 181 h 688"/>
              <a:gd name="T102" fmla="*/ 609 w 688"/>
              <a:gd name="T103" fmla="*/ 126 h 688"/>
              <a:gd name="T104" fmla="*/ 563 w 688"/>
              <a:gd name="T105" fmla="*/ 79 h 688"/>
              <a:gd name="T106" fmla="*/ 507 w 688"/>
              <a:gd name="T107" fmla="*/ 42 h 688"/>
              <a:gd name="T108" fmla="*/ 446 w 688"/>
              <a:gd name="T109" fmla="*/ 16 h 688"/>
              <a:gd name="T110" fmla="*/ 379 w 688"/>
              <a:gd name="T111" fmla="*/ 2 h 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8" h="688">
                <a:moveTo>
                  <a:pt x="433" y="568"/>
                </a:moveTo>
                <a:lnTo>
                  <a:pt x="254" y="568"/>
                </a:lnTo>
                <a:lnTo>
                  <a:pt x="250" y="568"/>
                </a:lnTo>
                <a:lnTo>
                  <a:pt x="248" y="567"/>
                </a:lnTo>
                <a:lnTo>
                  <a:pt x="245" y="566"/>
                </a:lnTo>
                <a:lnTo>
                  <a:pt x="243" y="564"/>
                </a:lnTo>
                <a:lnTo>
                  <a:pt x="242" y="562"/>
                </a:lnTo>
                <a:lnTo>
                  <a:pt x="240" y="560"/>
                </a:lnTo>
                <a:lnTo>
                  <a:pt x="240" y="556"/>
                </a:lnTo>
                <a:lnTo>
                  <a:pt x="239" y="553"/>
                </a:lnTo>
                <a:lnTo>
                  <a:pt x="240" y="551"/>
                </a:lnTo>
                <a:lnTo>
                  <a:pt x="240" y="548"/>
                </a:lnTo>
                <a:lnTo>
                  <a:pt x="242" y="546"/>
                </a:lnTo>
                <a:lnTo>
                  <a:pt x="243" y="544"/>
                </a:lnTo>
                <a:lnTo>
                  <a:pt x="245" y="541"/>
                </a:lnTo>
                <a:lnTo>
                  <a:pt x="248" y="539"/>
                </a:lnTo>
                <a:lnTo>
                  <a:pt x="250" y="539"/>
                </a:lnTo>
                <a:lnTo>
                  <a:pt x="254" y="538"/>
                </a:lnTo>
                <a:lnTo>
                  <a:pt x="328" y="538"/>
                </a:lnTo>
                <a:lnTo>
                  <a:pt x="328" y="300"/>
                </a:lnTo>
                <a:lnTo>
                  <a:pt x="283" y="300"/>
                </a:lnTo>
                <a:lnTo>
                  <a:pt x="280" y="299"/>
                </a:lnTo>
                <a:lnTo>
                  <a:pt x="278" y="299"/>
                </a:lnTo>
                <a:lnTo>
                  <a:pt x="275" y="296"/>
                </a:lnTo>
                <a:lnTo>
                  <a:pt x="273" y="295"/>
                </a:lnTo>
                <a:lnTo>
                  <a:pt x="272" y="293"/>
                </a:lnTo>
                <a:lnTo>
                  <a:pt x="270" y="290"/>
                </a:lnTo>
                <a:lnTo>
                  <a:pt x="270" y="288"/>
                </a:lnTo>
                <a:lnTo>
                  <a:pt x="269" y="285"/>
                </a:lnTo>
                <a:lnTo>
                  <a:pt x="270" y="281"/>
                </a:lnTo>
                <a:lnTo>
                  <a:pt x="270" y="278"/>
                </a:lnTo>
                <a:lnTo>
                  <a:pt x="272" y="276"/>
                </a:lnTo>
                <a:lnTo>
                  <a:pt x="273" y="274"/>
                </a:lnTo>
                <a:lnTo>
                  <a:pt x="275" y="272"/>
                </a:lnTo>
                <a:lnTo>
                  <a:pt x="278" y="271"/>
                </a:lnTo>
                <a:lnTo>
                  <a:pt x="280" y="270"/>
                </a:lnTo>
                <a:lnTo>
                  <a:pt x="283" y="270"/>
                </a:lnTo>
                <a:lnTo>
                  <a:pt x="343" y="270"/>
                </a:lnTo>
                <a:lnTo>
                  <a:pt x="347" y="270"/>
                </a:lnTo>
                <a:lnTo>
                  <a:pt x="350" y="271"/>
                </a:lnTo>
                <a:lnTo>
                  <a:pt x="352" y="272"/>
                </a:lnTo>
                <a:lnTo>
                  <a:pt x="354" y="274"/>
                </a:lnTo>
                <a:lnTo>
                  <a:pt x="356" y="276"/>
                </a:lnTo>
                <a:lnTo>
                  <a:pt x="357" y="278"/>
                </a:lnTo>
                <a:lnTo>
                  <a:pt x="358" y="281"/>
                </a:lnTo>
                <a:lnTo>
                  <a:pt x="358" y="285"/>
                </a:lnTo>
                <a:lnTo>
                  <a:pt x="358" y="538"/>
                </a:lnTo>
                <a:lnTo>
                  <a:pt x="433" y="538"/>
                </a:lnTo>
                <a:lnTo>
                  <a:pt x="437" y="539"/>
                </a:lnTo>
                <a:lnTo>
                  <a:pt x="439" y="539"/>
                </a:lnTo>
                <a:lnTo>
                  <a:pt x="442" y="541"/>
                </a:lnTo>
                <a:lnTo>
                  <a:pt x="444" y="544"/>
                </a:lnTo>
                <a:lnTo>
                  <a:pt x="446" y="546"/>
                </a:lnTo>
                <a:lnTo>
                  <a:pt x="447" y="548"/>
                </a:lnTo>
                <a:lnTo>
                  <a:pt x="448" y="551"/>
                </a:lnTo>
                <a:lnTo>
                  <a:pt x="448" y="553"/>
                </a:lnTo>
                <a:lnTo>
                  <a:pt x="448" y="556"/>
                </a:lnTo>
                <a:lnTo>
                  <a:pt x="447" y="560"/>
                </a:lnTo>
                <a:lnTo>
                  <a:pt x="446" y="562"/>
                </a:lnTo>
                <a:lnTo>
                  <a:pt x="444" y="564"/>
                </a:lnTo>
                <a:lnTo>
                  <a:pt x="442" y="566"/>
                </a:lnTo>
                <a:lnTo>
                  <a:pt x="439" y="567"/>
                </a:lnTo>
                <a:lnTo>
                  <a:pt x="437" y="568"/>
                </a:lnTo>
                <a:lnTo>
                  <a:pt x="433" y="568"/>
                </a:lnTo>
                <a:close/>
                <a:moveTo>
                  <a:pt x="328" y="120"/>
                </a:moveTo>
                <a:lnTo>
                  <a:pt x="335" y="120"/>
                </a:lnTo>
                <a:lnTo>
                  <a:pt x="340" y="122"/>
                </a:lnTo>
                <a:lnTo>
                  <a:pt x="346" y="125"/>
                </a:lnTo>
                <a:lnTo>
                  <a:pt x="350" y="128"/>
                </a:lnTo>
                <a:lnTo>
                  <a:pt x="353" y="133"/>
                </a:lnTo>
                <a:lnTo>
                  <a:pt x="356" y="138"/>
                </a:lnTo>
                <a:lnTo>
                  <a:pt x="358" y="143"/>
                </a:lnTo>
                <a:lnTo>
                  <a:pt x="358" y="150"/>
                </a:lnTo>
                <a:lnTo>
                  <a:pt x="358" y="155"/>
                </a:lnTo>
                <a:lnTo>
                  <a:pt x="356" y="162"/>
                </a:lnTo>
                <a:lnTo>
                  <a:pt x="353" y="166"/>
                </a:lnTo>
                <a:lnTo>
                  <a:pt x="350" y="171"/>
                </a:lnTo>
                <a:lnTo>
                  <a:pt x="346" y="174"/>
                </a:lnTo>
                <a:lnTo>
                  <a:pt x="340" y="178"/>
                </a:lnTo>
                <a:lnTo>
                  <a:pt x="335" y="179"/>
                </a:lnTo>
                <a:lnTo>
                  <a:pt x="328" y="180"/>
                </a:lnTo>
                <a:lnTo>
                  <a:pt x="323" y="179"/>
                </a:lnTo>
                <a:lnTo>
                  <a:pt x="317" y="178"/>
                </a:lnTo>
                <a:lnTo>
                  <a:pt x="312" y="174"/>
                </a:lnTo>
                <a:lnTo>
                  <a:pt x="307" y="171"/>
                </a:lnTo>
                <a:lnTo>
                  <a:pt x="304" y="166"/>
                </a:lnTo>
                <a:lnTo>
                  <a:pt x="301" y="162"/>
                </a:lnTo>
                <a:lnTo>
                  <a:pt x="300" y="155"/>
                </a:lnTo>
                <a:lnTo>
                  <a:pt x="298" y="150"/>
                </a:lnTo>
                <a:lnTo>
                  <a:pt x="300" y="143"/>
                </a:lnTo>
                <a:lnTo>
                  <a:pt x="301" y="138"/>
                </a:lnTo>
                <a:lnTo>
                  <a:pt x="304" y="133"/>
                </a:lnTo>
                <a:lnTo>
                  <a:pt x="307" y="128"/>
                </a:lnTo>
                <a:lnTo>
                  <a:pt x="312" y="125"/>
                </a:lnTo>
                <a:lnTo>
                  <a:pt x="317" y="122"/>
                </a:lnTo>
                <a:lnTo>
                  <a:pt x="323" y="120"/>
                </a:lnTo>
                <a:lnTo>
                  <a:pt x="328" y="120"/>
                </a:lnTo>
                <a:close/>
                <a:moveTo>
                  <a:pt x="343" y="0"/>
                </a:moveTo>
                <a:lnTo>
                  <a:pt x="326" y="0"/>
                </a:lnTo>
                <a:lnTo>
                  <a:pt x="308" y="2"/>
                </a:lnTo>
                <a:lnTo>
                  <a:pt x="291" y="4"/>
                </a:lnTo>
                <a:lnTo>
                  <a:pt x="274" y="8"/>
                </a:lnTo>
                <a:lnTo>
                  <a:pt x="258" y="11"/>
                </a:lnTo>
                <a:lnTo>
                  <a:pt x="242" y="16"/>
                </a:lnTo>
                <a:lnTo>
                  <a:pt x="226" y="21"/>
                </a:lnTo>
                <a:lnTo>
                  <a:pt x="210" y="28"/>
                </a:lnTo>
                <a:lnTo>
                  <a:pt x="195" y="34"/>
                </a:lnTo>
                <a:lnTo>
                  <a:pt x="180" y="42"/>
                </a:lnTo>
                <a:lnTo>
                  <a:pt x="166" y="50"/>
                </a:lnTo>
                <a:lnTo>
                  <a:pt x="152" y="59"/>
                </a:lnTo>
                <a:lnTo>
                  <a:pt x="138" y="69"/>
                </a:lnTo>
                <a:lnTo>
                  <a:pt x="125" y="79"/>
                </a:lnTo>
                <a:lnTo>
                  <a:pt x="112" y="90"/>
                </a:lnTo>
                <a:lnTo>
                  <a:pt x="101" y="102"/>
                </a:lnTo>
                <a:lnTo>
                  <a:pt x="89" y="113"/>
                </a:lnTo>
                <a:lnTo>
                  <a:pt x="78" y="126"/>
                </a:lnTo>
                <a:lnTo>
                  <a:pt x="68" y="139"/>
                </a:lnTo>
                <a:lnTo>
                  <a:pt x="59" y="152"/>
                </a:lnTo>
                <a:lnTo>
                  <a:pt x="49" y="166"/>
                </a:lnTo>
                <a:lnTo>
                  <a:pt x="42" y="181"/>
                </a:lnTo>
                <a:lnTo>
                  <a:pt x="33" y="196"/>
                </a:lnTo>
                <a:lnTo>
                  <a:pt x="27" y="211"/>
                </a:lnTo>
                <a:lnTo>
                  <a:pt x="20" y="227"/>
                </a:lnTo>
                <a:lnTo>
                  <a:pt x="15" y="242"/>
                </a:lnTo>
                <a:lnTo>
                  <a:pt x="11" y="259"/>
                </a:lnTo>
                <a:lnTo>
                  <a:pt x="6" y="275"/>
                </a:lnTo>
                <a:lnTo>
                  <a:pt x="3" y="292"/>
                </a:lnTo>
                <a:lnTo>
                  <a:pt x="1" y="309"/>
                </a:lnTo>
                <a:lnTo>
                  <a:pt x="0" y="326"/>
                </a:lnTo>
                <a:lnTo>
                  <a:pt x="0" y="345"/>
                </a:lnTo>
                <a:lnTo>
                  <a:pt x="0" y="362"/>
                </a:lnTo>
                <a:lnTo>
                  <a:pt x="1" y="379"/>
                </a:lnTo>
                <a:lnTo>
                  <a:pt x="3" y="396"/>
                </a:lnTo>
                <a:lnTo>
                  <a:pt x="6" y="413"/>
                </a:lnTo>
                <a:lnTo>
                  <a:pt x="11" y="430"/>
                </a:lnTo>
                <a:lnTo>
                  <a:pt x="15" y="446"/>
                </a:lnTo>
                <a:lnTo>
                  <a:pt x="20" y="462"/>
                </a:lnTo>
                <a:lnTo>
                  <a:pt x="27" y="478"/>
                </a:lnTo>
                <a:lnTo>
                  <a:pt x="33" y="493"/>
                </a:lnTo>
                <a:lnTo>
                  <a:pt x="42" y="508"/>
                </a:lnTo>
                <a:lnTo>
                  <a:pt x="49" y="522"/>
                </a:lnTo>
                <a:lnTo>
                  <a:pt x="59" y="536"/>
                </a:lnTo>
                <a:lnTo>
                  <a:pt x="68" y="550"/>
                </a:lnTo>
                <a:lnTo>
                  <a:pt x="78" y="563"/>
                </a:lnTo>
                <a:lnTo>
                  <a:pt x="89" y="576"/>
                </a:lnTo>
                <a:lnTo>
                  <a:pt x="101" y="587"/>
                </a:lnTo>
                <a:lnTo>
                  <a:pt x="112" y="598"/>
                </a:lnTo>
                <a:lnTo>
                  <a:pt x="125" y="610"/>
                </a:lnTo>
                <a:lnTo>
                  <a:pt x="138" y="620"/>
                </a:lnTo>
                <a:lnTo>
                  <a:pt x="152" y="629"/>
                </a:lnTo>
                <a:lnTo>
                  <a:pt x="166" y="638"/>
                </a:lnTo>
                <a:lnTo>
                  <a:pt x="180" y="646"/>
                </a:lnTo>
                <a:lnTo>
                  <a:pt x="195" y="654"/>
                </a:lnTo>
                <a:lnTo>
                  <a:pt x="210" y="661"/>
                </a:lnTo>
                <a:lnTo>
                  <a:pt x="226" y="667"/>
                </a:lnTo>
                <a:lnTo>
                  <a:pt x="242" y="673"/>
                </a:lnTo>
                <a:lnTo>
                  <a:pt x="258" y="677"/>
                </a:lnTo>
                <a:lnTo>
                  <a:pt x="274" y="681"/>
                </a:lnTo>
                <a:lnTo>
                  <a:pt x="291" y="684"/>
                </a:lnTo>
                <a:lnTo>
                  <a:pt x="308" y="686"/>
                </a:lnTo>
                <a:lnTo>
                  <a:pt x="326" y="688"/>
                </a:lnTo>
                <a:lnTo>
                  <a:pt x="343" y="688"/>
                </a:lnTo>
                <a:lnTo>
                  <a:pt x="362" y="688"/>
                </a:lnTo>
                <a:lnTo>
                  <a:pt x="379" y="686"/>
                </a:lnTo>
                <a:lnTo>
                  <a:pt x="396" y="684"/>
                </a:lnTo>
                <a:lnTo>
                  <a:pt x="413" y="681"/>
                </a:lnTo>
                <a:lnTo>
                  <a:pt x="429" y="677"/>
                </a:lnTo>
                <a:lnTo>
                  <a:pt x="446" y="673"/>
                </a:lnTo>
                <a:lnTo>
                  <a:pt x="462" y="667"/>
                </a:lnTo>
                <a:lnTo>
                  <a:pt x="477" y="661"/>
                </a:lnTo>
                <a:lnTo>
                  <a:pt x="492" y="654"/>
                </a:lnTo>
                <a:lnTo>
                  <a:pt x="507" y="646"/>
                </a:lnTo>
                <a:lnTo>
                  <a:pt x="522" y="638"/>
                </a:lnTo>
                <a:lnTo>
                  <a:pt x="536" y="629"/>
                </a:lnTo>
                <a:lnTo>
                  <a:pt x="549" y="620"/>
                </a:lnTo>
                <a:lnTo>
                  <a:pt x="563" y="610"/>
                </a:lnTo>
                <a:lnTo>
                  <a:pt x="575" y="598"/>
                </a:lnTo>
                <a:lnTo>
                  <a:pt x="586" y="587"/>
                </a:lnTo>
                <a:lnTo>
                  <a:pt x="598" y="576"/>
                </a:lnTo>
                <a:lnTo>
                  <a:pt x="609" y="563"/>
                </a:lnTo>
                <a:lnTo>
                  <a:pt x="619" y="550"/>
                </a:lnTo>
                <a:lnTo>
                  <a:pt x="629" y="536"/>
                </a:lnTo>
                <a:lnTo>
                  <a:pt x="638" y="522"/>
                </a:lnTo>
                <a:lnTo>
                  <a:pt x="646" y="508"/>
                </a:lnTo>
                <a:lnTo>
                  <a:pt x="654" y="493"/>
                </a:lnTo>
                <a:lnTo>
                  <a:pt x="660" y="478"/>
                </a:lnTo>
                <a:lnTo>
                  <a:pt x="667" y="462"/>
                </a:lnTo>
                <a:lnTo>
                  <a:pt x="672" y="446"/>
                </a:lnTo>
                <a:lnTo>
                  <a:pt x="676" y="430"/>
                </a:lnTo>
                <a:lnTo>
                  <a:pt x="680" y="413"/>
                </a:lnTo>
                <a:lnTo>
                  <a:pt x="684" y="396"/>
                </a:lnTo>
                <a:lnTo>
                  <a:pt x="686" y="379"/>
                </a:lnTo>
                <a:lnTo>
                  <a:pt x="687" y="362"/>
                </a:lnTo>
                <a:lnTo>
                  <a:pt x="688" y="345"/>
                </a:lnTo>
                <a:lnTo>
                  <a:pt x="687" y="326"/>
                </a:lnTo>
                <a:lnTo>
                  <a:pt x="686" y="309"/>
                </a:lnTo>
                <a:lnTo>
                  <a:pt x="684" y="292"/>
                </a:lnTo>
                <a:lnTo>
                  <a:pt x="680" y="275"/>
                </a:lnTo>
                <a:lnTo>
                  <a:pt x="676" y="259"/>
                </a:lnTo>
                <a:lnTo>
                  <a:pt x="672" y="242"/>
                </a:lnTo>
                <a:lnTo>
                  <a:pt x="667" y="227"/>
                </a:lnTo>
                <a:lnTo>
                  <a:pt x="660" y="211"/>
                </a:lnTo>
                <a:lnTo>
                  <a:pt x="654" y="196"/>
                </a:lnTo>
                <a:lnTo>
                  <a:pt x="646" y="181"/>
                </a:lnTo>
                <a:lnTo>
                  <a:pt x="638" y="166"/>
                </a:lnTo>
                <a:lnTo>
                  <a:pt x="629" y="152"/>
                </a:lnTo>
                <a:lnTo>
                  <a:pt x="619" y="139"/>
                </a:lnTo>
                <a:lnTo>
                  <a:pt x="609" y="126"/>
                </a:lnTo>
                <a:lnTo>
                  <a:pt x="598" y="113"/>
                </a:lnTo>
                <a:lnTo>
                  <a:pt x="586" y="102"/>
                </a:lnTo>
                <a:lnTo>
                  <a:pt x="575" y="90"/>
                </a:lnTo>
                <a:lnTo>
                  <a:pt x="563" y="79"/>
                </a:lnTo>
                <a:lnTo>
                  <a:pt x="549" y="69"/>
                </a:lnTo>
                <a:lnTo>
                  <a:pt x="536" y="59"/>
                </a:lnTo>
                <a:lnTo>
                  <a:pt x="522" y="50"/>
                </a:lnTo>
                <a:lnTo>
                  <a:pt x="507" y="42"/>
                </a:lnTo>
                <a:lnTo>
                  <a:pt x="492" y="34"/>
                </a:lnTo>
                <a:lnTo>
                  <a:pt x="477" y="28"/>
                </a:lnTo>
                <a:lnTo>
                  <a:pt x="462" y="21"/>
                </a:lnTo>
                <a:lnTo>
                  <a:pt x="446" y="16"/>
                </a:lnTo>
                <a:lnTo>
                  <a:pt x="429" y="11"/>
                </a:lnTo>
                <a:lnTo>
                  <a:pt x="413" y="8"/>
                </a:lnTo>
                <a:lnTo>
                  <a:pt x="396" y="4"/>
                </a:lnTo>
                <a:lnTo>
                  <a:pt x="379" y="2"/>
                </a:lnTo>
                <a:lnTo>
                  <a:pt x="362" y="0"/>
                </a:lnTo>
                <a:lnTo>
                  <a:pt x="34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0" name="Freeform 4347"/>
          <p:cNvSpPr/>
          <p:nvPr/>
        </p:nvSpPr>
        <p:spPr bwMode="auto">
          <a:xfrm>
            <a:off x="11031571" y="5598319"/>
            <a:ext cx="284163" cy="284163"/>
          </a:xfrm>
          <a:custGeom>
            <a:avLst/>
            <a:gdLst>
              <a:gd name="T0" fmla="*/ 795 w 891"/>
              <a:gd name="T1" fmla="*/ 575 h 893"/>
              <a:gd name="T2" fmla="*/ 727 w 891"/>
              <a:gd name="T3" fmla="*/ 560 h 893"/>
              <a:gd name="T4" fmla="*/ 546 w 891"/>
              <a:gd name="T5" fmla="*/ 446 h 893"/>
              <a:gd name="T6" fmla="*/ 742 w 891"/>
              <a:gd name="T7" fmla="*/ 331 h 893"/>
              <a:gd name="T8" fmla="*/ 831 w 891"/>
              <a:gd name="T9" fmla="*/ 295 h 893"/>
              <a:gd name="T10" fmla="*/ 877 w 891"/>
              <a:gd name="T11" fmla="*/ 233 h 893"/>
              <a:gd name="T12" fmla="*/ 891 w 891"/>
              <a:gd name="T13" fmla="*/ 163 h 893"/>
              <a:gd name="T14" fmla="*/ 876 w 891"/>
              <a:gd name="T15" fmla="*/ 101 h 893"/>
              <a:gd name="T16" fmla="*/ 856 w 891"/>
              <a:gd name="T17" fmla="*/ 98 h 893"/>
              <a:gd name="T18" fmla="*/ 797 w 891"/>
              <a:gd name="T19" fmla="*/ 36 h 893"/>
              <a:gd name="T20" fmla="*/ 794 w 891"/>
              <a:gd name="T21" fmla="*/ 15 h 893"/>
              <a:gd name="T22" fmla="*/ 709 w 891"/>
              <a:gd name="T23" fmla="*/ 1 h 893"/>
              <a:gd name="T24" fmla="*/ 620 w 891"/>
              <a:gd name="T25" fmla="*/ 38 h 893"/>
              <a:gd name="T26" fmla="*/ 574 w 891"/>
              <a:gd name="T27" fmla="*/ 97 h 893"/>
              <a:gd name="T28" fmla="*/ 559 w 891"/>
              <a:gd name="T29" fmla="*/ 163 h 893"/>
              <a:gd name="T30" fmla="*/ 446 w 891"/>
              <a:gd name="T31" fmla="*/ 345 h 893"/>
              <a:gd name="T32" fmla="*/ 331 w 891"/>
              <a:gd name="T33" fmla="*/ 163 h 893"/>
              <a:gd name="T34" fmla="*/ 316 w 891"/>
              <a:gd name="T35" fmla="*/ 97 h 893"/>
              <a:gd name="T36" fmla="*/ 274 w 891"/>
              <a:gd name="T37" fmla="*/ 40 h 893"/>
              <a:gd name="T38" fmla="*/ 209 w 891"/>
              <a:gd name="T39" fmla="*/ 6 h 893"/>
              <a:gd name="T40" fmla="*/ 139 w 891"/>
              <a:gd name="T41" fmla="*/ 3 h 893"/>
              <a:gd name="T42" fmla="*/ 96 w 891"/>
              <a:gd name="T43" fmla="*/ 21 h 893"/>
              <a:gd name="T44" fmla="*/ 179 w 891"/>
              <a:gd name="T45" fmla="*/ 105 h 893"/>
              <a:gd name="T46" fmla="*/ 28 w 891"/>
              <a:gd name="T47" fmla="*/ 95 h 893"/>
              <a:gd name="T48" fmla="*/ 8 w 891"/>
              <a:gd name="T49" fmla="*/ 116 h 893"/>
              <a:gd name="T50" fmla="*/ 1 w 891"/>
              <a:gd name="T51" fmla="*/ 188 h 893"/>
              <a:gd name="T52" fmla="*/ 24 w 891"/>
              <a:gd name="T53" fmla="*/ 256 h 893"/>
              <a:gd name="T54" fmla="*/ 76 w 891"/>
              <a:gd name="T55" fmla="*/ 308 h 893"/>
              <a:gd name="T56" fmla="*/ 140 w 891"/>
              <a:gd name="T57" fmla="*/ 331 h 893"/>
              <a:gd name="T58" fmla="*/ 209 w 891"/>
              <a:gd name="T59" fmla="*/ 327 h 893"/>
              <a:gd name="T60" fmla="*/ 179 w 891"/>
              <a:gd name="T61" fmla="*/ 561 h 893"/>
              <a:gd name="T62" fmla="*/ 87 w 891"/>
              <a:gd name="T63" fmla="*/ 580 h 893"/>
              <a:gd name="T64" fmla="*/ 24 w 891"/>
              <a:gd name="T65" fmla="*/ 638 h 893"/>
              <a:gd name="T66" fmla="*/ 1 w 891"/>
              <a:gd name="T67" fmla="*/ 707 h 893"/>
              <a:gd name="T68" fmla="*/ 8 w 891"/>
              <a:gd name="T69" fmla="*/ 778 h 893"/>
              <a:gd name="T70" fmla="*/ 28 w 891"/>
              <a:gd name="T71" fmla="*/ 800 h 893"/>
              <a:gd name="T72" fmla="*/ 179 w 891"/>
              <a:gd name="T73" fmla="*/ 786 h 893"/>
              <a:gd name="T74" fmla="*/ 96 w 891"/>
              <a:gd name="T75" fmla="*/ 871 h 893"/>
              <a:gd name="T76" fmla="*/ 152 w 891"/>
              <a:gd name="T77" fmla="*/ 892 h 893"/>
              <a:gd name="T78" fmla="*/ 231 w 891"/>
              <a:gd name="T79" fmla="*/ 879 h 893"/>
              <a:gd name="T80" fmla="*/ 299 w 891"/>
              <a:gd name="T81" fmla="*/ 825 h 893"/>
              <a:gd name="T82" fmla="*/ 328 w 891"/>
              <a:gd name="T83" fmla="*/ 763 h 893"/>
              <a:gd name="T84" fmla="*/ 328 w 891"/>
              <a:gd name="T85" fmla="*/ 694 h 893"/>
              <a:gd name="T86" fmla="*/ 563 w 891"/>
              <a:gd name="T87" fmla="*/ 694 h 893"/>
              <a:gd name="T88" fmla="*/ 564 w 891"/>
              <a:gd name="T89" fmla="*/ 762 h 893"/>
              <a:gd name="T90" fmla="*/ 592 w 891"/>
              <a:gd name="T91" fmla="*/ 825 h 893"/>
              <a:gd name="T92" fmla="*/ 662 w 891"/>
              <a:gd name="T93" fmla="*/ 879 h 893"/>
              <a:gd name="T94" fmla="*/ 758 w 891"/>
              <a:gd name="T95" fmla="*/ 889 h 893"/>
              <a:gd name="T96" fmla="*/ 799 w 891"/>
              <a:gd name="T97" fmla="*/ 867 h 893"/>
              <a:gd name="T98" fmla="*/ 718 w 891"/>
              <a:gd name="T99" fmla="*/ 717 h 893"/>
              <a:gd name="T100" fmla="*/ 866 w 891"/>
              <a:gd name="T101" fmla="*/ 800 h 893"/>
              <a:gd name="T102" fmla="*/ 886 w 891"/>
              <a:gd name="T103" fmla="*/ 767 h 893"/>
              <a:gd name="T104" fmla="*/ 889 w 891"/>
              <a:gd name="T105" fmla="*/ 695 h 893"/>
              <a:gd name="T106" fmla="*/ 859 w 891"/>
              <a:gd name="T107" fmla="*/ 62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1" h="893">
                <a:moveTo>
                  <a:pt x="843" y="608"/>
                </a:moveTo>
                <a:lnTo>
                  <a:pt x="834" y="600"/>
                </a:lnTo>
                <a:lnTo>
                  <a:pt x="825" y="593"/>
                </a:lnTo>
                <a:lnTo>
                  <a:pt x="815" y="586"/>
                </a:lnTo>
                <a:lnTo>
                  <a:pt x="805" y="580"/>
                </a:lnTo>
                <a:lnTo>
                  <a:pt x="795" y="575"/>
                </a:lnTo>
                <a:lnTo>
                  <a:pt x="784" y="571"/>
                </a:lnTo>
                <a:lnTo>
                  <a:pt x="773" y="567"/>
                </a:lnTo>
                <a:lnTo>
                  <a:pt x="762" y="564"/>
                </a:lnTo>
                <a:lnTo>
                  <a:pt x="751" y="562"/>
                </a:lnTo>
                <a:lnTo>
                  <a:pt x="739" y="560"/>
                </a:lnTo>
                <a:lnTo>
                  <a:pt x="727" y="560"/>
                </a:lnTo>
                <a:lnTo>
                  <a:pt x="717" y="560"/>
                </a:lnTo>
                <a:lnTo>
                  <a:pt x="705" y="561"/>
                </a:lnTo>
                <a:lnTo>
                  <a:pt x="693" y="563"/>
                </a:lnTo>
                <a:lnTo>
                  <a:pt x="681" y="566"/>
                </a:lnTo>
                <a:lnTo>
                  <a:pt x="671" y="570"/>
                </a:lnTo>
                <a:lnTo>
                  <a:pt x="546" y="446"/>
                </a:lnTo>
                <a:lnTo>
                  <a:pt x="671" y="323"/>
                </a:lnTo>
                <a:lnTo>
                  <a:pt x="683" y="327"/>
                </a:lnTo>
                <a:lnTo>
                  <a:pt x="697" y="329"/>
                </a:lnTo>
                <a:lnTo>
                  <a:pt x="711" y="331"/>
                </a:lnTo>
                <a:lnTo>
                  <a:pt x="725" y="331"/>
                </a:lnTo>
                <a:lnTo>
                  <a:pt x="742" y="331"/>
                </a:lnTo>
                <a:lnTo>
                  <a:pt x="758" y="329"/>
                </a:lnTo>
                <a:lnTo>
                  <a:pt x="774" y="325"/>
                </a:lnTo>
                <a:lnTo>
                  <a:pt x="789" y="319"/>
                </a:lnTo>
                <a:lnTo>
                  <a:pt x="803" y="313"/>
                </a:lnTo>
                <a:lnTo>
                  <a:pt x="817" y="304"/>
                </a:lnTo>
                <a:lnTo>
                  <a:pt x="831" y="295"/>
                </a:lnTo>
                <a:lnTo>
                  <a:pt x="843" y="284"/>
                </a:lnTo>
                <a:lnTo>
                  <a:pt x="851" y="275"/>
                </a:lnTo>
                <a:lnTo>
                  <a:pt x="859" y="265"/>
                </a:lnTo>
                <a:lnTo>
                  <a:pt x="866" y="254"/>
                </a:lnTo>
                <a:lnTo>
                  <a:pt x="873" y="243"/>
                </a:lnTo>
                <a:lnTo>
                  <a:pt x="877" y="233"/>
                </a:lnTo>
                <a:lnTo>
                  <a:pt x="882" y="221"/>
                </a:lnTo>
                <a:lnTo>
                  <a:pt x="886" y="210"/>
                </a:lnTo>
                <a:lnTo>
                  <a:pt x="889" y="199"/>
                </a:lnTo>
                <a:lnTo>
                  <a:pt x="890" y="187"/>
                </a:lnTo>
                <a:lnTo>
                  <a:pt x="891" y="175"/>
                </a:lnTo>
                <a:lnTo>
                  <a:pt x="891" y="163"/>
                </a:lnTo>
                <a:lnTo>
                  <a:pt x="891" y="151"/>
                </a:lnTo>
                <a:lnTo>
                  <a:pt x="889" y="140"/>
                </a:lnTo>
                <a:lnTo>
                  <a:pt x="886" y="128"/>
                </a:lnTo>
                <a:lnTo>
                  <a:pt x="882" y="116"/>
                </a:lnTo>
                <a:lnTo>
                  <a:pt x="878" y="104"/>
                </a:lnTo>
                <a:lnTo>
                  <a:pt x="876" y="101"/>
                </a:lnTo>
                <a:lnTo>
                  <a:pt x="874" y="98"/>
                </a:lnTo>
                <a:lnTo>
                  <a:pt x="871" y="96"/>
                </a:lnTo>
                <a:lnTo>
                  <a:pt x="866" y="96"/>
                </a:lnTo>
                <a:lnTo>
                  <a:pt x="863" y="95"/>
                </a:lnTo>
                <a:lnTo>
                  <a:pt x="859" y="96"/>
                </a:lnTo>
                <a:lnTo>
                  <a:pt x="856" y="98"/>
                </a:lnTo>
                <a:lnTo>
                  <a:pt x="852" y="100"/>
                </a:lnTo>
                <a:lnTo>
                  <a:pt x="785" y="179"/>
                </a:lnTo>
                <a:lnTo>
                  <a:pt x="718" y="179"/>
                </a:lnTo>
                <a:lnTo>
                  <a:pt x="718" y="105"/>
                </a:lnTo>
                <a:lnTo>
                  <a:pt x="795" y="38"/>
                </a:lnTo>
                <a:lnTo>
                  <a:pt x="797" y="36"/>
                </a:lnTo>
                <a:lnTo>
                  <a:pt x="799" y="33"/>
                </a:lnTo>
                <a:lnTo>
                  <a:pt x="799" y="28"/>
                </a:lnTo>
                <a:lnTo>
                  <a:pt x="799" y="25"/>
                </a:lnTo>
                <a:lnTo>
                  <a:pt x="798" y="21"/>
                </a:lnTo>
                <a:lnTo>
                  <a:pt x="796" y="18"/>
                </a:lnTo>
                <a:lnTo>
                  <a:pt x="794" y="15"/>
                </a:lnTo>
                <a:lnTo>
                  <a:pt x="790" y="13"/>
                </a:lnTo>
                <a:lnTo>
                  <a:pt x="774" y="7"/>
                </a:lnTo>
                <a:lnTo>
                  <a:pt x="758" y="3"/>
                </a:lnTo>
                <a:lnTo>
                  <a:pt x="742" y="1"/>
                </a:lnTo>
                <a:lnTo>
                  <a:pt x="725" y="0"/>
                </a:lnTo>
                <a:lnTo>
                  <a:pt x="709" y="1"/>
                </a:lnTo>
                <a:lnTo>
                  <a:pt x="693" y="3"/>
                </a:lnTo>
                <a:lnTo>
                  <a:pt x="677" y="7"/>
                </a:lnTo>
                <a:lnTo>
                  <a:pt x="662" y="12"/>
                </a:lnTo>
                <a:lnTo>
                  <a:pt x="647" y="20"/>
                </a:lnTo>
                <a:lnTo>
                  <a:pt x="633" y="28"/>
                </a:lnTo>
                <a:lnTo>
                  <a:pt x="620" y="38"/>
                </a:lnTo>
                <a:lnTo>
                  <a:pt x="609" y="49"/>
                </a:lnTo>
                <a:lnTo>
                  <a:pt x="600" y="57"/>
                </a:lnTo>
                <a:lnTo>
                  <a:pt x="592" y="67"/>
                </a:lnTo>
                <a:lnTo>
                  <a:pt x="586" y="77"/>
                </a:lnTo>
                <a:lnTo>
                  <a:pt x="580" y="86"/>
                </a:lnTo>
                <a:lnTo>
                  <a:pt x="574" y="97"/>
                </a:lnTo>
                <a:lnTo>
                  <a:pt x="570" y="108"/>
                </a:lnTo>
                <a:lnTo>
                  <a:pt x="567" y="118"/>
                </a:lnTo>
                <a:lnTo>
                  <a:pt x="564" y="129"/>
                </a:lnTo>
                <a:lnTo>
                  <a:pt x="561" y="141"/>
                </a:lnTo>
                <a:lnTo>
                  <a:pt x="560" y="153"/>
                </a:lnTo>
                <a:lnTo>
                  <a:pt x="559" y="163"/>
                </a:lnTo>
                <a:lnTo>
                  <a:pt x="560" y="175"/>
                </a:lnTo>
                <a:lnTo>
                  <a:pt x="561" y="187"/>
                </a:lnTo>
                <a:lnTo>
                  <a:pt x="563" y="199"/>
                </a:lnTo>
                <a:lnTo>
                  <a:pt x="566" y="209"/>
                </a:lnTo>
                <a:lnTo>
                  <a:pt x="569" y="221"/>
                </a:lnTo>
                <a:lnTo>
                  <a:pt x="446" y="345"/>
                </a:lnTo>
                <a:lnTo>
                  <a:pt x="322" y="221"/>
                </a:lnTo>
                <a:lnTo>
                  <a:pt x="325" y="209"/>
                </a:lnTo>
                <a:lnTo>
                  <a:pt x="328" y="199"/>
                </a:lnTo>
                <a:lnTo>
                  <a:pt x="330" y="187"/>
                </a:lnTo>
                <a:lnTo>
                  <a:pt x="331" y="175"/>
                </a:lnTo>
                <a:lnTo>
                  <a:pt x="331" y="163"/>
                </a:lnTo>
                <a:lnTo>
                  <a:pt x="330" y="153"/>
                </a:lnTo>
                <a:lnTo>
                  <a:pt x="329" y="141"/>
                </a:lnTo>
                <a:lnTo>
                  <a:pt x="327" y="129"/>
                </a:lnTo>
                <a:lnTo>
                  <a:pt x="324" y="118"/>
                </a:lnTo>
                <a:lnTo>
                  <a:pt x="321" y="108"/>
                </a:lnTo>
                <a:lnTo>
                  <a:pt x="316" y="97"/>
                </a:lnTo>
                <a:lnTo>
                  <a:pt x="311" y="86"/>
                </a:lnTo>
                <a:lnTo>
                  <a:pt x="305" y="77"/>
                </a:lnTo>
                <a:lnTo>
                  <a:pt x="298" y="67"/>
                </a:lnTo>
                <a:lnTo>
                  <a:pt x="291" y="57"/>
                </a:lnTo>
                <a:lnTo>
                  <a:pt x="282" y="49"/>
                </a:lnTo>
                <a:lnTo>
                  <a:pt x="274" y="40"/>
                </a:lnTo>
                <a:lnTo>
                  <a:pt x="264" y="33"/>
                </a:lnTo>
                <a:lnTo>
                  <a:pt x="253" y="25"/>
                </a:lnTo>
                <a:lnTo>
                  <a:pt x="243" y="20"/>
                </a:lnTo>
                <a:lnTo>
                  <a:pt x="232" y="15"/>
                </a:lnTo>
                <a:lnTo>
                  <a:pt x="221" y="10"/>
                </a:lnTo>
                <a:lnTo>
                  <a:pt x="209" y="6"/>
                </a:lnTo>
                <a:lnTo>
                  <a:pt x="199" y="4"/>
                </a:lnTo>
                <a:lnTo>
                  <a:pt x="187" y="2"/>
                </a:lnTo>
                <a:lnTo>
                  <a:pt x="175" y="1"/>
                </a:lnTo>
                <a:lnTo>
                  <a:pt x="162" y="1"/>
                </a:lnTo>
                <a:lnTo>
                  <a:pt x="151" y="2"/>
                </a:lnTo>
                <a:lnTo>
                  <a:pt x="139" y="3"/>
                </a:lnTo>
                <a:lnTo>
                  <a:pt x="127" y="5"/>
                </a:lnTo>
                <a:lnTo>
                  <a:pt x="115" y="9"/>
                </a:lnTo>
                <a:lnTo>
                  <a:pt x="103" y="13"/>
                </a:lnTo>
                <a:lnTo>
                  <a:pt x="100" y="16"/>
                </a:lnTo>
                <a:lnTo>
                  <a:pt x="97" y="18"/>
                </a:lnTo>
                <a:lnTo>
                  <a:pt x="96" y="21"/>
                </a:lnTo>
                <a:lnTo>
                  <a:pt x="95" y="25"/>
                </a:lnTo>
                <a:lnTo>
                  <a:pt x="94" y="28"/>
                </a:lnTo>
                <a:lnTo>
                  <a:pt x="95" y="33"/>
                </a:lnTo>
                <a:lnTo>
                  <a:pt x="97" y="36"/>
                </a:lnTo>
                <a:lnTo>
                  <a:pt x="99" y="38"/>
                </a:lnTo>
                <a:lnTo>
                  <a:pt x="179" y="105"/>
                </a:lnTo>
                <a:lnTo>
                  <a:pt x="179" y="179"/>
                </a:lnTo>
                <a:lnTo>
                  <a:pt x="106" y="179"/>
                </a:lnTo>
                <a:lnTo>
                  <a:pt x="38" y="100"/>
                </a:lnTo>
                <a:lnTo>
                  <a:pt x="35" y="98"/>
                </a:lnTo>
                <a:lnTo>
                  <a:pt x="32" y="96"/>
                </a:lnTo>
                <a:lnTo>
                  <a:pt x="28" y="95"/>
                </a:lnTo>
                <a:lnTo>
                  <a:pt x="24" y="96"/>
                </a:lnTo>
                <a:lnTo>
                  <a:pt x="20" y="96"/>
                </a:lnTo>
                <a:lnTo>
                  <a:pt x="17" y="98"/>
                </a:lnTo>
                <a:lnTo>
                  <a:pt x="15" y="101"/>
                </a:lnTo>
                <a:lnTo>
                  <a:pt x="13" y="104"/>
                </a:lnTo>
                <a:lnTo>
                  <a:pt x="8" y="116"/>
                </a:lnTo>
                <a:lnTo>
                  <a:pt x="5" y="128"/>
                </a:lnTo>
                <a:lnTo>
                  <a:pt x="2" y="140"/>
                </a:lnTo>
                <a:lnTo>
                  <a:pt x="1" y="151"/>
                </a:lnTo>
                <a:lnTo>
                  <a:pt x="0" y="164"/>
                </a:lnTo>
                <a:lnTo>
                  <a:pt x="0" y="176"/>
                </a:lnTo>
                <a:lnTo>
                  <a:pt x="1" y="188"/>
                </a:lnTo>
                <a:lnTo>
                  <a:pt x="3" y="200"/>
                </a:lnTo>
                <a:lnTo>
                  <a:pt x="5" y="211"/>
                </a:lnTo>
                <a:lnTo>
                  <a:pt x="9" y="223"/>
                </a:lnTo>
                <a:lnTo>
                  <a:pt x="14" y="235"/>
                </a:lnTo>
                <a:lnTo>
                  <a:pt x="19" y="246"/>
                </a:lnTo>
                <a:lnTo>
                  <a:pt x="24" y="256"/>
                </a:lnTo>
                <a:lnTo>
                  <a:pt x="32" y="266"/>
                </a:lnTo>
                <a:lnTo>
                  <a:pt x="39" y="276"/>
                </a:lnTo>
                <a:lnTo>
                  <a:pt x="48" y="285"/>
                </a:lnTo>
                <a:lnTo>
                  <a:pt x="56" y="294"/>
                </a:lnTo>
                <a:lnTo>
                  <a:pt x="66" y="300"/>
                </a:lnTo>
                <a:lnTo>
                  <a:pt x="76" y="308"/>
                </a:lnTo>
                <a:lnTo>
                  <a:pt x="85" y="313"/>
                </a:lnTo>
                <a:lnTo>
                  <a:pt x="96" y="318"/>
                </a:lnTo>
                <a:lnTo>
                  <a:pt x="107" y="323"/>
                </a:lnTo>
                <a:lnTo>
                  <a:pt x="117" y="326"/>
                </a:lnTo>
                <a:lnTo>
                  <a:pt x="128" y="329"/>
                </a:lnTo>
                <a:lnTo>
                  <a:pt x="140" y="331"/>
                </a:lnTo>
                <a:lnTo>
                  <a:pt x="152" y="332"/>
                </a:lnTo>
                <a:lnTo>
                  <a:pt x="162" y="333"/>
                </a:lnTo>
                <a:lnTo>
                  <a:pt x="174" y="332"/>
                </a:lnTo>
                <a:lnTo>
                  <a:pt x="186" y="331"/>
                </a:lnTo>
                <a:lnTo>
                  <a:pt x="198" y="329"/>
                </a:lnTo>
                <a:lnTo>
                  <a:pt x="209" y="327"/>
                </a:lnTo>
                <a:lnTo>
                  <a:pt x="220" y="323"/>
                </a:lnTo>
                <a:lnTo>
                  <a:pt x="344" y="447"/>
                </a:lnTo>
                <a:lnTo>
                  <a:pt x="220" y="570"/>
                </a:lnTo>
                <a:lnTo>
                  <a:pt x="207" y="566"/>
                </a:lnTo>
                <a:lnTo>
                  <a:pt x="193" y="562"/>
                </a:lnTo>
                <a:lnTo>
                  <a:pt x="179" y="561"/>
                </a:lnTo>
                <a:lnTo>
                  <a:pt x="166" y="560"/>
                </a:lnTo>
                <a:lnTo>
                  <a:pt x="148" y="561"/>
                </a:lnTo>
                <a:lnTo>
                  <a:pt x="132" y="563"/>
                </a:lnTo>
                <a:lnTo>
                  <a:pt x="117" y="568"/>
                </a:lnTo>
                <a:lnTo>
                  <a:pt x="101" y="573"/>
                </a:lnTo>
                <a:lnTo>
                  <a:pt x="87" y="580"/>
                </a:lnTo>
                <a:lnTo>
                  <a:pt x="74" y="588"/>
                </a:lnTo>
                <a:lnTo>
                  <a:pt x="61" y="598"/>
                </a:lnTo>
                <a:lnTo>
                  <a:pt x="48" y="608"/>
                </a:lnTo>
                <a:lnTo>
                  <a:pt x="39" y="618"/>
                </a:lnTo>
                <a:lnTo>
                  <a:pt x="32" y="628"/>
                </a:lnTo>
                <a:lnTo>
                  <a:pt x="24" y="638"/>
                </a:lnTo>
                <a:lnTo>
                  <a:pt x="19" y="649"/>
                </a:lnTo>
                <a:lnTo>
                  <a:pt x="14" y="660"/>
                </a:lnTo>
                <a:lnTo>
                  <a:pt x="9" y="671"/>
                </a:lnTo>
                <a:lnTo>
                  <a:pt x="5" y="683"/>
                </a:lnTo>
                <a:lnTo>
                  <a:pt x="3" y="695"/>
                </a:lnTo>
                <a:lnTo>
                  <a:pt x="1" y="707"/>
                </a:lnTo>
                <a:lnTo>
                  <a:pt x="0" y="719"/>
                </a:lnTo>
                <a:lnTo>
                  <a:pt x="0" y="730"/>
                </a:lnTo>
                <a:lnTo>
                  <a:pt x="1" y="743"/>
                </a:lnTo>
                <a:lnTo>
                  <a:pt x="2" y="755"/>
                </a:lnTo>
                <a:lnTo>
                  <a:pt x="5" y="767"/>
                </a:lnTo>
                <a:lnTo>
                  <a:pt x="8" y="778"/>
                </a:lnTo>
                <a:lnTo>
                  <a:pt x="13" y="790"/>
                </a:lnTo>
                <a:lnTo>
                  <a:pt x="15" y="793"/>
                </a:lnTo>
                <a:lnTo>
                  <a:pt x="17" y="797"/>
                </a:lnTo>
                <a:lnTo>
                  <a:pt x="20" y="799"/>
                </a:lnTo>
                <a:lnTo>
                  <a:pt x="24" y="800"/>
                </a:lnTo>
                <a:lnTo>
                  <a:pt x="28" y="800"/>
                </a:lnTo>
                <a:lnTo>
                  <a:pt x="32" y="799"/>
                </a:lnTo>
                <a:lnTo>
                  <a:pt x="35" y="798"/>
                </a:lnTo>
                <a:lnTo>
                  <a:pt x="38" y="796"/>
                </a:lnTo>
                <a:lnTo>
                  <a:pt x="106" y="717"/>
                </a:lnTo>
                <a:lnTo>
                  <a:pt x="179" y="717"/>
                </a:lnTo>
                <a:lnTo>
                  <a:pt x="179" y="786"/>
                </a:lnTo>
                <a:lnTo>
                  <a:pt x="99" y="853"/>
                </a:lnTo>
                <a:lnTo>
                  <a:pt x="97" y="857"/>
                </a:lnTo>
                <a:lnTo>
                  <a:pt x="95" y="860"/>
                </a:lnTo>
                <a:lnTo>
                  <a:pt x="94" y="863"/>
                </a:lnTo>
                <a:lnTo>
                  <a:pt x="95" y="867"/>
                </a:lnTo>
                <a:lnTo>
                  <a:pt x="96" y="871"/>
                </a:lnTo>
                <a:lnTo>
                  <a:pt x="97" y="875"/>
                </a:lnTo>
                <a:lnTo>
                  <a:pt x="100" y="877"/>
                </a:lnTo>
                <a:lnTo>
                  <a:pt x="103" y="879"/>
                </a:lnTo>
                <a:lnTo>
                  <a:pt x="120" y="884"/>
                </a:lnTo>
                <a:lnTo>
                  <a:pt x="135" y="889"/>
                </a:lnTo>
                <a:lnTo>
                  <a:pt x="152" y="892"/>
                </a:lnTo>
                <a:lnTo>
                  <a:pt x="168" y="893"/>
                </a:lnTo>
                <a:lnTo>
                  <a:pt x="168" y="893"/>
                </a:lnTo>
                <a:lnTo>
                  <a:pt x="184" y="892"/>
                </a:lnTo>
                <a:lnTo>
                  <a:pt x="200" y="889"/>
                </a:lnTo>
                <a:lnTo>
                  <a:pt x="216" y="885"/>
                </a:lnTo>
                <a:lnTo>
                  <a:pt x="231" y="879"/>
                </a:lnTo>
                <a:lnTo>
                  <a:pt x="245" y="873"/>
                </a:lnTo>
                <a:lnTo>
                  <a:pt x="259" y="864"/>
                </a:lnTo>
                <a:lnTo>
                  <a:pt x="271" y="854"/>
                </a:lnTo>
                <a:lnTo>
                  <a:pt x="284" y="843"/>
                </a:lnTo>
                <a:lnTo>
                  <a:pt x="292" y="834"/>
                </a:lnTo>
                <a:lnTo>
                  <a:pt x="299" y="825"/>
                </a:lnTo>
                <a:lnTo>
                  <a:pt x="306" y="816"/>
                </a:lnTo>
                <a:lnTo>
                  <a:pt x="312" y="806"/>
                </a:lnTo>
                <a:lnTo>
                  <a:pt x="317" y="796"/>
                </a:lnTo>
                <a:lnTo>
                  <a:pt x="322" y="785"/>
                </a:lnTo>
                <a:lnTo>
                  <a:pt x="325" y="774"/>
                </a:lnTo>
                <a:lnTo>
                  <a:pt x="328" y="763"/>
                </a:lnTo>
                <a:lnTo>
                  <a:pt x="330" y="752"/>
                </a:lnTo>
                <a:lnTo>
                  <a:pt x="331" y="741"/>
                </a:lnTo>
                <a:lnTo>
                  <a:pt x="331" y="729"/>
                </a:lnTo>
                <a:lnTo>
                  <a:pt x="331" y="717"/>
                </a:lnTo>
                <a:lnTo>
                  <a:pt x="330" y="706"/>
                </a:lnTo>
                <a:lnTo>
                  <a:pt x="328" y="694"/>
                </a:lnTo>
                <a:lnTo>
                  <a:pt x="325" y="682"/>
                </a:lnTo>
                <a:lnTo>
                  <a:pt x="322" y="671"/>
                </a:lnTo>
                <a:lnTo>
                  <a:pt x="446" y="547"/>
                </a:lnTo>
                <a:lnTo>
                  <a:pt x="569" y="671"/>
                </a:lnTo>
                <a:lnTo>
                  <a:pt x="566" y="682"/>
                </a:lnTo>
                <a:lnTo>
                  <a:pt x="563" y="694"/>
                </a:lnTo>
                <a:lnTo>
                  <a:pt x="561" y="706"/>
                </a:lnTo>
                <a:lnTo>
                  <a:pt x="560" y="716"/>
                </a:lnTo>
                <a:lnTo>
                  <a:pt x="559" y="728"/>
                </a:lnTo>
                <a:lnTo>
                  <a:pt x="560" y="740"/>
                </a:lnTo>
                <a:lnTo>
                  <a:pt x="561" y="752"/>
                </a:lnTo>
                <a:lnTo>
                  <a:pt x="564" y="762"/>
                </a:lnTo>
                <a:lnTo>
                  <a:pt x="567" y="774"/>
                </a:lnTo>
                <a:lnTo>
                  <a:pt x="570" y="785"/>
                </a:lnTo>
                <a:lnTo>
                  <a:pt x="574" y="796"/>
                </a:lnTo>
                <a:lnTo>
                  <a:pt x="580" y="805"/>
                </a:lnTo>
                <a:lnTo>
                  <a:pt x="586" y="816"/>
                </a:lnTo>
                <a:lnTo>
                  <a:pt x="592" y="825"/>
                </a:lnTo>
                <a:lnTo>
                  <a:pt x="600" y="834"/>
                </a:lnTo>
                <a:lnTo>
                  <a:pt x="609" y="843"/>
                </a:lnTo>
                <a:lnTo>
                  <a:pt x="620" y="854"/>
                </a:lnTo>
                <a:lnTo>
                  <a:pt x="634" y="864"/>
                </a:lnTo>
                <a:lnTo>
                  <a:pt x="648" y="873"/>
                </a:lnTo>
                <a:lnTo>
                  <a:pt x="662" y="879"/>
                </a:lnTo>
                <a:lnTo>
                  <a:pt x="678" y="885"/>
                </a:lnTo>
                <a:lnTo>
                  <a:pt x="693" y="889"/>
                </a:lnTo>
                <a:lnTo>
                  <a:pt x="709" y="892"/>
                </a:lnTo>
                <a:lnTo>
                  <a:pt x="725" y="893"/>
                </a:lnTo>
                <a:lnTo>
                  <a:pt x="741" y="892"/>
                </a:lnTo>
                <a:lnTo>
                  <a:pt x="758" y="889"/>
                </a:lnTo>
                <a:lnTo>
                  <a:pt x="774" y="884"/>
                </a:lnTo>
                <a:lnTo>
                  <a:pt x="790" y="879"/>
                </a:lnTo>
                <a:lnTo>
                  <a:pt x="794" y="877"/>
                </a:lnTo>
                <a:lnTo>
                  <a:pt x="796" y="875"/>
                </a:lnTo>
                <a:lnTo>
                  <a:pt x="798" y="871"/>
                </a:lnTo>
                <a:lnTo>
                  <a:pt x="799" y="867"/>
                </a:lnTo>
                <a:lnTo>
                  <a:pt x="799" y="863"/>
                </a:lnTo>
                <a:lnTo>
                  <a:pt x="799" y="860"/>
                </a:lnTo>
                <a:lnTo>
                  <a:pt x="797" y="857"/>
                </a:lnTo>
                <a:lnTo>
                  <a:pt x="795" y="853"/>
                </a:lnTo>
                <a:lnTo>
                  <a:pt x="718" y="786"/>
                </a:lnTo>
                <a:lnTo>
                  <a:pt x="718" y="717"/>
                </a:lnTo>
                <a:lnTo>
                  <a:pt x="785" y="717"/>
                </a:lnTo>
                <a:lnTo>
                  <a:pt x="854" y="796"/>
                </a:lnTo>
                <a:lnTo>
                  <a:pt x="856" y="798"/>
                </a:lnTo>
                <a:lnTo>
                  <a:pt x="859" y="799"/>
                </a:lnTo>
                <a:lnTo>
                  <a:pt x="863" y="800"/>
                </a:lnTo>
                <a:lnTo>
                  <a:pt x="866" y="800"/>
                </a:lnTo>
                <a:lnTo>
                  <a:pt x="871" y="799"/>
                </a:lnTo>
                <a:lnTo>
                  <a:pt x="874" y="797"/>
                </a:lnTo>
                <a:lnTo>
                  <a:pt x="876" y="793"/>
                </a:lnTo>
                <a:lnTo>
                  <a:pt x="878" y="790"/>
                </a:lnTo>
                <a:lnTo>
                  <a:pt x="882" y="778"/>
                </a:lnTo>
                <a:lnTo>
                  <a:pt x="886" y="767"/>
                </a:lnTo>
                <a:lnTo>
                  <a:pt x="889" y="755"/>
                </a:lnTo>
                <a:lnTo>
                  <a:pt x="891" y="743"/>
                </a:lnTo>
                <a:lnTo>
                  <a:pt x="891" y="730"/>
                </a:lnTo>
                <a:lnTo>
                  <a:pt x="891" y="719"/>
                </a:lnTo>
                <a:lnTo>
                  <a:pt x="890" y="707"/>
                </a:lnTo>
                <a:lnTo>
                  <a:pt x="889" y="695"/>
                </a:lnTo>
                <a:lnTo>
                  <a:pt x="886" y="683"/>
                </a:lnTo>
                <a:lnTo>
                  <a:pt x="882" y="671"/>
                </a:lnTo>
                <a:lnTo>
                  <a:pt x="877" y="660"/>
                </a:lnTo>
                <a:lnTo>
                  <a:pt x="872" y="649"/>
                </a:lnTo>
                <a:lnTo>
                  <a:pt x="866" y="638"/>
                </a:lnTo>
                <a:lnTo>
                  <a:pt x="859" y="628"/>
                </a:lnTo>
                <a:lnTo>
                  <a:pt x="851" y="618"/>
                </a:lnTo>
                <a:lnTo>
                  <a:pt x="843" y="6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Resultados Finais</a:t>
            </a:r>
            <a:endParaRPr lang="en-US" alt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8" name="Group 77"/>
          <p:cNvGrpSpPr/>
          <p:nvPr/>
        </p:nvGrpSpPr>
        <p:grpSpPr>
          <a:xfrm>
            <a:off x="9063165" y="4105689"/>
            <a:ext cx="414970" cy="596104"/>
            <a:chOff x="10501313" y="2228850"/>
            <a:chExt cx="200025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04"/>
            <p:cNvSpPr/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05"/>
            <p:cNvSpPr/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06"/>
            <p:cNvSpPr/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14033" y="4107574"/>
            <a:ext cx="414636" cy="592334"/>
            <a:chOff x="11637963" y="1925320"/>
            <a:chExt cx="200025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4" name="Freeform 209"/>
            <p:cNvSpPr>
              <a:spLocks noEditPoints="1"/>
            </p:cNvSpPr>
            <p:nvPr/>
          </p:nvSpPr>
          <p:spPr bwMode="auto">
            <a:xfrm>
              <a:off x="11637963" y="1925320"/>
              <a:ext cx="200025" cy="285750"/>
            </a:xfrm>
            <a:custGeom>
              <a:avLst/>
              <a:gdLst>
                <a:gd name="T0" fmla="*/ 550 w 632"/>
                <a:gd name="T1" fmla="*/ 800 h 904"/>
                <a:gd name="T2" fmla="*/ 542 w 632"/>
                <a:gd name="T3" fmla="*/ 796 h 904"/>
                <a:gd name="T4" fmla="*/ 533 w 632"/>
                <a:gd name="T5" fmla="*/ 800 h 904"/>
                <a:gd name="T6" fmla="*/ 401 w 632"/>
                <a:gd name="T7" fmla="*/ 802 h 904"/>
                <a:gd name="T8" fmla="*/ 394 w 632"/>
                <a:gd name="T9" fmla="*/ 797 h 904"/>
                <a:gd name="T10" fmla="*/ 385 w 632"/>
                <a:gd name="T11" fmla="*/ 797 h 904"/>
                <a:gd name="T12" fmla="*/ 316 w 632"/>
                <a:gd name="T13" fmla="*/ 866 h 904"/>
                <a:gd name="T14" fmla="*/ 247 w 632"/>
                <a:gd name="T15" fmla="*/ 798 h 904"/>
                <a:gd name="T16" fmla="*/ 241 w 632"/>
                <a:gd name="T17" fmla="*/ 796 h 904"/>
                <a:gd name="T18" fmla="*/ 235 w 632"/>
                <a:gd name="T19" fmla="*/ 798 h 904"/>
                <a:gd name="T20" fmla="*/ 167 w 632"/>
                <a:gd name="T21" fmla="*/ 867 h 904"/>
                <a:gd name="T22" fmla="*/ 96 w 632"/>
                <a:gd name="T23" fmla="*/ 798 h 904"/>
                <a:gd name="T24" fmla="*/ 87 w 632"/>
                <a:gd name="T25" fmla="*/ 797 h 904"/>
                <a:gd name="T26" fmla="*/ 80 w 632"/>
                <a:gd name="T27" fmla="*/ 802 h 904"/>
                <a:gd name="T28" fmla="*/ 80 w 632"/>
                <a:gd name="T29" fmla="*/ 101 h 904"/>
                <a:gd name="T30" fmla="*/ 88 w 632"/>
                <a:gd name="T31" fmla="*/ 105 h 904"/>
                <a:gd name="T32" fmla="*/ 96 w 632"/>
                <a:gd name="T33" fmla="*/ 105 h 904"/>
                <a:gd name="T34" fmla="*/ 165 w 632"/>
                <a:gd name="T35" fmla="*/ 36 h 904"/>
                <a:gd name="T36" fmla="*/ 235 w 632"/>
                <a:gd name="T37" fmla="*/ 105 h 904"/>
                <a:gd name="T38" fmla="*/ 244 w 632"/>
                <a:gd name="T39" fmla="*/ 105 h 904"/>
                <a:gd name="T40" fmla="*/ 251 w 632"/>
                <a:gd name="T41" fmla="*/ 101 h 904"/>
                <a:gd name="T42" fmla="*/ 383 w 632"/>
                <a:gd name="T43" fmla="*/ 103 h 904"/>
                <a:gd name="T44" fmla="*/ 391 w 632"/>
                <a:gd name="T45" fmla="*/ 106 h 904"/>
                <a:gd name="T46" fmla="*/ 399 w 632"/>
                <a:gd name="T47" fmla="*/ 103 h 904"/>
                <a:gd name="T48" fmla="*/ 531 w 632"/>
                <a:gd name="T49" fmla="*/ 101 h 904"/>
                <a:gd name="T50" fmla="*/ 539 w 632"/>
                <a:gd name="T51" fmla="*/ 105 h 904"/>
                <a:gd name="T52" fmla="*/ 547 w 632"/>
                <a:gd name="T53" fmla="*/ 105 h 904"/>
                <a:gd name="T54" fmla="*/ 602 w 632"/>
                <a:gd name="T55" fmla="*/ 52 h 904"/>
                <a:gd name="T56" fmla="*/ 618 w 632"/>
                <a:gd name="T57" fmla="*/ 2 h 904"/>
                <a:gd name="T58" fmla="*/ 606 w 632"/>
                <a:gd name="T59" fmla="*/ 6 h 904"/>
                <a:gd name="T60" fmla="*/ 474 w 632"/>
                <a:gd name="T61" fmla="*/ 3 h 904"/>
                <a:gd name="T62" fmla="*/ 467 w 632"/>
                <a:gd name="T63" fmla="*/ 0 h 904"/>
                <a:gd name="T64" fmla="*/ 458 w 632"/>
                <a:gd name="T65" fmla="*/ 3 h 904"/>
                <a:gd name="T66" fmla="*/ 326 w 632"/>
                <a:gd name="T67" fmla="*/ 5 h 904"/>
                <a:gd name="T68" fmla="*/ 319 w 632"/>
                <a:gd name="T69" fmla="*/ 1 h 904"/>
                <a:gd name="T70" fmla="*/ 310 w 632"/>
                <a:gd name="T71" fmla="*/ 1 h 904"/>
                <a:gd name="T72" fmla="*/ 241 w 632"/>
                <a:gd name="T73" fmla="*/ 69 h 904"/>
                <a:gd name="T74" fmla="*/ 172 w 632"/>
                <a:gd name="T75" fmla="*/ 1 h 904"/>
                <a:gd name="T76" fmla="*/ 163 w 632"/>
                <a:gd name="T77" fmla="*/ 1 h 904"/>
                <a:gd name="T78" fmla="*/ 155 w 632"/>
                <a:gd name="T79" fmla="*/ 5 h 904"/>
                <a:gd name="T80" fmla="*/ 22 w 632"/>
                <a:gd name="T81" fmla="*/ 3 h 904"/>
                <a:gd name="T82" fmla="*/ 10 w 632"/>
                <a:gd name="T83" fmla="*/ 3 h 904"/>
                <a:gd name="T84" fmla="*/ 1 w 632"/>
                <a:gd name="T85" fmla="*/ 12 h 904"/>
                <a:gd name="T86" fmla="*/ 1 w 632"/>
                <a:gd name="T87" fmla="*/ 893 h 904"/>
                <a:gd name="T88" fmla="*/ 10 w 632"/>
                <a:gd name="T89" fmla="*/ 902 h 904"/>
                <a:gd name="T90" fmla="*/ 23 w 632"/>
                <a:gd name="T91" fmla="*/ 901 h 904"/>
                <a:gd name="T92" fmla="*/ 157 w 632"/>
                <a:gd name="T93" fmla="*/ 899 h 904"/>
                <a:gd name="T94" fmla="*/ 164 w 632"/>
                <a:gd name="T95" fmla="*/ 904 h 904"/>
                <a:gd name="T96" fmla="*/ 173 w 632"/>
                <a:gd name="T97" fmla="*/ 902 h 904"/>
                <a:gd name="T98" fmla="*/ 241 w 632"/>
                <a:gd name="T99" fmla="*/ 833 h 904"/>
                <a:gd name="T100" fmla="*/ 310 w 632"/>
                <a:gd name="T101" fmla="*/ 901 h 904"/>
                <a:gd name="T102" fmla="*/ 319 w 632"/>
                <a:gd name="T103" fmla="*/ 901 h 904"/>
                <a:gd name="T104" fmla="*/ 326 w 632"/>
                <a:gd name="T105" fmla="*/ 898 h 904"/>
                <a:gd name="T106" fmla="*/ 458 w 632"/>
                <a:gd name="T107" fmla="*/ 899 h 904"/>
                <a:gd name="T108" fmla="*/ 467 w 632"/>
                <a:gd name="T109" fmla="*/ 902 h 904"/>
                <a:gd name="T110" fmla="*/ 474 w 632"/>
                <a:gd name="T111" fmla="*/ 899 h 904"/>
                <a:gd name="T112" fmla="*/ 606 w 632"/>
                <a:gd name="T113" fmla="*/ 899 h 904"/>
                <a:gd name="T114" fmla="*/ 614 w 632"/>
                <a:gd name="T115" fmla="*/ 904 h 904"/>
                <a:gd name="T116" fmla="*/ 622 w 632"/>
                <a:gd name="T117" fmla="*/ 902 h 904"/>
                <a:gd name="T118" fmla="*/ 631 w 632"/>
                <a:gd name="T119" fmla="*/ 893 h 904"/>
                <a:gd name="T120" fmla="*/ 631 w 632"/>
                <a:gd name="T121" fmla="*/ 12 h 904"/>
                <a:gd name="T122" fmla="*/ 622 w 632"/>
                <a:gd name="T123" fmla="*/ 3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904">
                  <a:moveTo>
                    <a:pt x="602" y="851"/>
                  </a:moveTo>
                  <a:lnTo>
                    <a:pt x="553" y="802"/>
                  </a:lnTo>
                  <a:lnTo>
                    <a:pt x="550" y="800"/>
                  </a:lnTo>
                  <a:lnTo>
                    <a:pt x="547" y="798"/>
                  </a:lnTo>
                  <a:lnTo>
                    <a:pt x="544" y="797"/>
                  </a:lnTo>
                  <a:lnTo>
                    <a:pt x="542" y="796"/>
                  </a:lnTo>
                  <a:lnTo>
                    <a:pt x="539" y="797"/>
                  </a:lnTo>
                  <a:lnTo>
                    <a:pt x="535" y="797"/>
                  </a:lnTo>
                  <a:lnTo>
                    <a:pt x="533" y="800"/>
                  </a:lnTo>
                  <a:lnTo>
                    <a:pt x="531" y="802"/>
                  </a:lnTo>
                  <a:lnTo>
                    <a:pt x="467" y="866"/>
                  </a:lnTo>
                  <a:lnTo>
                    <a:pt x="401" y="802"/>
                  </a:lnTo>
                  <a:lnTo>
                    <a:pt x="399" y="800"/>
                  </a:lnTo>
                  <a:lnTo>
                    <a:pt x="397" y="797"/>
                  </a:lnTo>
                  <a:lnTo>
                    <a:pt x="394" y="797"/>
                  </a:lnTo>
                  <a:lnTo>
                    <a:pt x="391" y="796"/>
                  </a:lnTo>
                  <a:lnTo>
                    <a:pt x="389" y="797"/>
                  </a:lnTo>
                  <a:lnTo>
                    <a:pt x="385" y="797"/>
                  </a:lnTo>
                  <a:lnTo>
                    <a:pt x="383" y="800"/>
                  </a:lnTo>
                  <a:lnTo>
                    <a:pt x="381" y="802"/>
                  </a:lnTo>
                  <a:lnTo>
                    <a:pt x="316" y="866"/>
                  </a:lnTo>
                  <a:lnTo>
                    <a:pt x="251" y="802"/>
                  </a:lnTo>
                  <a:lnTo>
                    <a:pt x="249" y="800"/>
                  </a:lnTo>
                  <a:lnTo>
                    <a:pt x="247" y="798"/>
                  </a:lnTo>
                  <a:lnTo>
                    <a:pt x="244" y="797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37" y="797"/>
                  </a:lnTo>
                  <a:lnTo>
                    <a:pt x="235" y="798"/>
                  </a:lnTo>
                  <a:lnTo>
                    <a:pt x="232" y="800"/>
                  </a:lnTo>
                  <a:lnTo>
                    <a:pt x="230" y="802"/>
                  </a:lnTo>
                  <a:lnTo>
                    <a:pt x="167" y="867"/>
                  </a:lnTo>
                  <a:lnTo>
                    <a:pt x="101" y="802"/>
                  </a:lnTo>
                  <a:lnTo>
                    <a:pt x="99" y="800"/>
                  </a:lnTo>
                  <a:lnTo>
                    <a:pt x="96" y="798"/>
                  </a:lnTo>
                  <a:lnTo>
                    <a:pt x="94" y="797"/>
                  </a:lnTo>
                  <a:lnTo>
                    <a:pt x="90" y="796"/>
                  </a:lnTo>
                  <a:lnTo>
                    <a:pt x="87" y="797"/>
                  </a:lnTo>
                  <a:lnTo>
                    <a:pt x="84" y="798"/>
                  </a:lnTo>
                  <a:lnTo>
                    <a:pt x="82" y="800"/>
                  </a:lnTo>
                  <a:lnTo>
                    <a:pt x="80" y="802"/>
                  </a:lnTo>
                  <a:lnTo>
                    <a:pt x="30" y="851"/>
                  </a:lnTo>
                  <a:lnTo>
                    <a:pt x="30" y="52"/>
                  </a:lnTo>
                  <a:lnTo>
                    <a:pt x="80" y="101"/>
                  </a:lnTo>
                  <a:lnTo>
                    <a:pt x="82" y="103"/>
                  </a:lnTo>
                  <a:lnTo>
                    <a:pt x="85" y="105"/>
                  </a:lnTo>
                  <a:lnTo>
                    <a:pt x="88" y="105"/>
                  </a:lnTo>
                  <a:lnTo>
                    <a:pt x="90" y="106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65" y="36"/>
                  </a:lnTo>
                  <a:lnTo>
                    <a:pt x="230" y="101"/>
                  </a:lnTo>
                  <a:lnTo>
                    <a:pt x="233" y="103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41" y="106"/>
                  </a:lnTo>
                  <a:lnTo>
                    <a:pt x="244" y="105"/>
                  </a:lnTo>
                  <a:lnTo>
                    <a:pt x="247" y="105"/>
                  </a:lnTo>
                  <a:lnTo>
                    <a:pt x="249" y="103"/>
                  </a:lnTo>
                  <a:lnTo>
                    <a:pt x="251" y="101"/>
                  </a:lnTo>
                  <a:lnTo>
                    <a:pt x="316" y="36"/>
                  </a:lnTo>
                  <a:lnTo>
                    <a:pt x="381" y="101"/>
                  </a:lnTo>
                  <a:lnTo>
                    <a:pt x="383" y="103"/>
                  </a:lnTo>
                  <a:lnTo>
                    <a:pt x="385" y="105"/>
                  </a:lnTo>
                  <a:lnTo>
                    <a:pt x="389" y="105"/>
                  </a:lnTo>
                  <a:lnTo>
                    <a:pt x="391" y="106"/>
                  </a:lnTo>
                  <a:lnTo>
                    <a:pt x="394" y="105"/>
                  </a:lnTo>
                  <a:lnTo>
                    <a:pt x="397" y="105"/>
                  </a:lnTo>
                  <a:lnTo>
                    <a:pt x="399" y="103"/>
                  </a:lnTo>
                  <a:lnTo>
                    <a:pt x="401" y="101"/>
                  </a:lnTo>
                  <a:lnTo>
                    <a:pt x="467" y="36"/>
                  </a:lnTo>
                  <a:lnTo>
                    <a:pt x="531" y="101"/>
                  </a:lnTo>
                  <a:lnTo>
                    <a:pt x="533" y="103"/>
                  </a:lnTo>
                  <a:lnTo>
                    <a:pt x="535" y="105"/>
                  </a:lnTo>
                  <a:lnTo>
                    <a:pt x="539" y="105"/>
                  </a:lnTo>
                  <a:lnTo>
                    <a:pt x="542" y="106"/>
                  </a:lnTo>
                  <a:lnTo>
                    <a:pt x="544" y="105"/>
                  </a:lnTo>
                  <a:lnTo>
                    <a:pt x="547" y="105"/>
                  </a:lnTo>
                  <a:lnTo>
                    <a:pt x="549" y="103"/>
                  </a:lnTo>
                  <a:lnTo>
                    <a:pt x="551" y="101"/>
                  </a:lnTo>
                  <a:lnTo>
                    <a:pt x="602" y="52"/>
                  </a:lnTo>
                  <a:lnTo>
                    <a:pt x="602" y="851"/>
                  </a:lnTo>
                  <a:close/>
                  <a:moveTo>
                    <a:pt x="622" y="3"/>
                  </a:moveTo>
                  <a:lnTo>
                    <a:pt x="618" y="2"/>
                  </a:lnTo>
                  <a:lnTo>
                    <a:pt x="614" y="2"/>
                  </a:lnTo>
                  <a:lnTo>
                    <a:pt x="609" y="3"/>
                  </a:lnTo>
                  <a:lnTo>
                    <a:pt x="606" y="6"/>
                  </a:lnTo>
                  <a:lnTo>
                    <a:pt x="542" y="69"/>
                  </a:lnTo>
                  <a:lnTo>
                    <a:pt x="477" y="5"/>
                  </a:lnTo>
                  <a:lnTo>
                    <a:pt x="474" y="3"/>
                  </a:lnTo>
                  <a:lnTo>
                    <a:pt x="472" y="1"/>
                  </a:lnTo>
                  <a:lnTo>
                    <a:pt x="469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60" y="1"/>
                  </a:lnTo>
                  <a:lnTo>
                    <a:pt x="458" y="3"/>
                  </a:lnTo>
                  <a:lnTo>
                    <a:pt x="456" y="5"/>
                  </a:lnTo>
                  <a:lnTo>
                    <a:pt x="391" y="69"/>
                  </a:lnTo>
                  <a:lnTo>
                    <a:pt x="326" y="5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08" y="3"/>
                  </a:lnTo>
                  <a:lnTo>
                    <a:pt x="305" y="5"/>
                  </a:lnTo>
                  <a:lnTo>
                    <a:pt x="241" y="69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5" y="0"/>
                  </a:lnTo>
                  <a:lnTo>
                    <a:pt x="163" y="1"/>
                  </a:lnTo>
                  <a:lnTo>
                    <a:pt x="160" y="1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90" y="69"/>
                  </a:lnTo>
                  <a:lnTo>
                    <a:pt x="26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2"/>
                  </a:lnTo>
                  <a:lnTo>
                    <a:pt x="0" y="17"/>
                  </a:lnTo>
                  <a:lnTo>
                    <a:pt x="0" y="889"/>
                  </a:lnTo>
                  <a:lnTo>
                    <a:pt x="1" y="893"/>
                  </a:lnTo>
                  <a:lnTo>
                    <a:pt x="3" y="897"/>
                  </a:lnTo>
                  <a:lnTo>
                    <a:pt x="6" y="900"/>
                  </a:lnTo>
                  <a:lnTo>
                    <a:pt x="10" y="902"/>
                  </a:lnTo>
                  <a:lnTo>
                    <a:pt x="14" y="904"/>
                  </a:lnTo>
                  <a:lnTo>
                    <a:pt x="19" y="904"/>
                  </a:lnTo>
                  <a:lnTo>
                    <a:pt x="23" y="901"/>
                  </a:lnTo>
                  <a:lnTo>
                    <a:pt x="26" y="899"/>
                  </a:lnTo>
                  <a:lnTo>
                    <a:pt x="90" y="833"/>
                  </a:lnTo>
                  <a:lnTo>
                    <a:pt x="157" y="899"/>
                  </a:lnTo>
                  <a:lnTo>
                    <a:pt x="159" y="900"/>
                  </a:lnTo>
                  <a:lnTo>
                    <a:pt x="161" y="902"/>
                  </a:lnTo>
                  <a:lnTo>
                    <a:pt x="164" y="904"/>
                  </a:lnTo>
                  <a:lnTo>
                    <a:pt x="168" y="904"/>
                  </a:lnTo>
                  <a:lnTo>
                    <a:pt x="170" y="904"/>
                  </a:lnTo>
                  <a:lnTo>
                    <a:pt x="173" y="902"/>
                  </a:lnTo>
                  <a:lnTo>
                    <a:pt x="175" y="900"/>
                  </a:lnTo>
                  <a:lnTo>
                    <a:pt x="178" y="899"/>
                  </a:lnTo>
                  <a:lnTo>
                    <a:pt x="241" y="833"/>
                  </a:lnTo>
                  <a:lnTo>
                    <a:pt x="305" y="898"/>
                  </a:lnTo>
                  <a:lnTo>
                    <a:pt x="308" y="899"/>
                  </a:lnTo>
                  <a:lnTo>
                    <a:pt x="310" y="901"/>
                  </a:lnTo>
                  <a:lnTo>
                    <a:pt x="313" y="901"/>
                  </a:lnTo>
                  <a:lnTo>
                    <a:pt x="316" y="902"/>
                  </a:lnTo>
                  <a:lnTo>
                    <a:pt x="319" y="901"/>
                  </a:lnTo>
                  <a:lnTo>
                    <a:pt x="322" y="901"/>
                  </a:lnTo>
                  <a:lnTo>
                    <a:pt x="324" y="899"/>
                  </a:lnTo>
                  <a:lnTo>
                    <a:pt x="326" y="898"/>
                  </a:lnTo>
                  <a:lnTo>
                    <a:pt x="391" y="833"/>
                  </a:lnTo>
                  <a:lnTo>
                    <a:pt x="456" y="898"/>
                  </a:lnTo>
                  <a:lnTo>
                    <a:pt x="458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7" y="902"/>
                  </a:lnTo>
                  <a:lnTo>
                    <a:pt x="469" y="901"/>
                  </a:lnTo>
                  <a:lnTo>
                    <a:pt x="472" y="901"/>
                  </a:lnTo>
                  <a:lnTo>
                    <a:pt x="474" y="899"/>
                  </a:lnTo>
                  <a:lnTo>
                    <a:pt x="477" y="898"/>
                  </a:lnTo>
                  <a:lnTo>
                    <a:pt x="542" y="833"/>
                  </a:lnTo>
                  <a:lnTo>
                    <a:pt x="606" y="899"/>
                  </a:lnTo>
                  <a:lnTo>
                    <a:pt x="608" y="900"/>
                  </a:lnTo>
                  <a:lnTo>
                    <a:pt x="610" y="902"/>
                  </a:lnTo>
                  <a:lnTo>
                    <a:pt x="614" y="904"/>
                  </a:lnTo>
                  <a:lnTo>
                    <a:pt x="617" y="904"/>
                  </a:lnTo>
                  <a:lnTo>
                    <a:pt x="620" y="904"/>
                  </a:lnTo>
                  <a:lnTo>
                    <a:pt x="622" y="902"/>
                  </a:lnTo>
                  <a:lnTo>
                    <a:pt x="627" y="900"/>
                  </a:lnTo>
                  <a:lnTo>
                    <a:pt x="629" y="897"/>
                  </a:lnTo>
                  <a:lnTo>
                    <a:pt x="631" y="893"/>
                  </a:lnTo>
                  <a:lnTo>
                    <a:pt x="632" y="889"/>
                  </a:lnTo>
                  <a:lnTo>
                    <a:pt x="632" y="17"/>
                  </a:lnTo>
                  <a:lnTo>
                    <a:pt x="631" y="12"/>
                  </a:lnTo>
                  <a:lnTo>
                    <a:pt x="629" y="8"/>
                  </a:lnTo>
                  <a:lnTo>
                    <a:pt x="627" y="5"/>
                  </a:lnTo>
                  <a:lnTo>
                    <a:pt x="6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10"/>
            <p:cNvSpPr/>
            <p:nvPr/>
          </p:nvSpPr>
          <p:spPr bwMode="auto">
            <a:xfrm>
              <a:off x="11672888" y="1991995"/>
              <a:ext cx="106363" cy="9525"/>
            </a:xfrm>
            <a:custGeom>
              <a:avLst/>
              <a:gdLst>
                <a:gd name="T0" fmla="*/ 333 w 333"/>
                <a:gd name="T1" fmla="*/ 15 h 30"/>
                <a:gd name="T2" fmla="*/ 333 w 333"/>
                <a:gd name="T3" fmla="*/ 12 h 30"/>
                <a:gd name="T4" fmla="*/ 332 w 333"/>
                <a:gd name="T5" fmla="*/ 8 h 30"/>
                <a:gd name="T6" fmla="*/ 331 w 333"/>
                <a:gd name="T7" fmla="*/ 6 h 30"/>
                <a:gd name="T8" fmla="*/ 329 w 333"/>
                <a:gd name="T9" fmla="*/ 4 h 30"/>
                <a:gd name="T10" fmla="*/ 327 w 333"/>
                <a:gd name="T11" fmla="*/ 2 h 30"/>
                <a:gd name="T12" fmla="*/ 324 w 333"/>
                <a:gd name="T13" fmla="*/ 1 h 30"/>
                <a:gd name="T14" fmla="*/ 322 w 333"/>
                <a:gd name="T15" fmla="*/ 0 h 30"/>
                <a:gd name="T16" fmla="*/ 318 w 333"/>
                <a:gd name="T17" fmla="*/ 0 h 30"/>
                <a:gd name="T18" fmla="*/ 15 w 333"/>
                <a:gd name="T19" fmla="*/ 0 h 30"/>
                <a:gd name="T20" fmla="*/ 12 w 333"/>
                <a:gd name="T21" fmla="*/ 0 h 30"/>
                <a:gd name="T22" fmla="*/ 10 w 333"/>
                <a:gd name="T23" fmla="*/ 1 h 30"/>
                <a:gd name="T24" fmla="*/ 6 w 333"/>
                <a:gd name="T25" fmla="*/ 2 h 30"/>
                <a:gd name="T26" fmla="*/ 4 w 333"/>
                <a:gd name="T27" fmla="*/ 4 h 30"/>
                <a:gd name="T28" fmla="*/ 2 w 333"/>
                <a:gd name="T29" fmla="*/ 6 h 30"/>
                <a:gd name="T30" fmla="*/ 1 w 333"/>
                <a:gd name="T31" fmla="*/ 8 h 30"/>
                <a:gd name="T32" fmla="*/ 0 w 333"/>
                <a:gd name="T33" fmla="*/ 12 h 30"/>
                <a:gd name="T34" fmla="*/ 0 w 333"/>
                <a:gd name="T35" fmla="*/ 15 h 30"/>
                <a:gd name="T36" fmla="*/ 0 w 333"/>
                <a:gd name="T37" fmla="*/ 18 h 30"/>
                <a:gd name="T38" fmla="*/ 1 w 333"/>
                <a:gd name="T39" fmla="*/ 20 h 30"/>
                <a:gd name="T40" fmla="*/ 2 w 333"/>
                <a:gd name="T41" fmla="*/ 23 h 30"/>
                <a:gd name="T42" fmla="*/ 4 w 333"/>
                <a:gd name="T43" fmla="*/ 26 h 30"/>
                <a:gd name="T44" fmla="*/ 6 w 333"/>
                <a:gd name="T45" fmla="*/ 27 h 30"/>
                <a:gd name="T46" fmla="*/ 10 w 333"/>
                <a:gd name="T47" fmla="*/ 29 h 30"/>
                <a:gd name="T48" fmla="*/ 12 w 333"/>
                <a:gd name="T49" fmla="*/ 29 h 30"/>
                <a:gd name="T50" fmla="*/ 15 w 333"/>
                <a:gd name="T51" fmla="*/ 30 h 30"/>
                <a:gd name="T52" fmla="*/ 318 w 333"/>
                <a:gd name="T53" fmla="*/ 30 h 30"/>
                <a:gd name="T54" fmla="*/ 322 w 333"/>
                <a:gd name="T55" fmla="*/ 29 h 30"/>
                <a:gd name="T56" fmla="*/ 324 w 333"/>
                <a:gd name="T57" fmla="*/ 29 h 30"/>
                <a:gd name="T58" fmla="*/ 327 w 333"/>
                <a:gd name="T59" fmla="*/ 27 h 30"/>
                <a:gd name="T60" fmla="*/ 329 w 333"/>
                <a:gd name="T61" fmla="*/ 26 h 30"/>
                <a:gd name="T62" fmla="*/ 331 w 333"/>
                <a:gd name="T63" fmla="*/ 23 h 30"/>
                <a:gd name="T64" fmla="*/ 332 w 333"/>
                <a:gd name="T65" fmla="*/ 20 h 30"/>
                <a:gd name="T66" fmla="*/ 333 w 333"/>
                <a:gd name="T67" fmla="*/ 18 h 30"/>
                <a:gd name="T68" fmla="*/ 333 w 333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3" h="30">
                  <a:moveTo>
                    <a:pt x="333" y="15"/>
                  </a:moveTo>
                  <a:lnTo>
                    <a:pt x="333" y="12"/>
                  </a:lnTo>
                  <a:lnTo>
                    <a:pt x="332" y="8"/>
                  </a:lnTo>
                  <a:lnTo>
                    <a:pt x="331" y="6"/>
                  </a:lnTo>
                  <a:lnTo>
                    <a:pt x="329" y="4"/>
                  </a:lnTo>
                  <a:lnTo>
                    <a:pt x="327" y="2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18" y="30"/>
                  </a:lnTo>
                  <a:lnTo>
                    <a:pt x="322" y="29"/>
                  </a:lnTo>
                  <a:lnTo>
                    <a:pt x="324" y="29"/>
                  </a:lnTo>
                  <a:lnTo>
                    <a:pt x="327" y="27"/>
                  </a:lnTo>
                  <a:lnTo>
                    <a:pt x="329" y="26"/>
                  </a:lnTo>
                  <a:lnTo>
                    <a:pt x="331" y="23"/>
                  </a:lnTo>
                  <a:lnTo>
                    <a:pt x="332" y="20"/>
                  </a:lnTo>
                  <a:lnTo>
                    <a:pt x="333" y="18"/>
                  </a:lnTo>
                  <a:lnTo>
                    <a:pt x="33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11"/>
            <p:cNvSpPr/>
            <p:nvPr/>
          </p:nvSpPr>
          <p:spPr bwMode="auto">
            <a:xfrm>
              <a:off x="11672888" y="20300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9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0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9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212"/>
            <p:cNvSpPr/>
            <p:nvPr/>
          </p:nvSpPr>
          <p:spPr bwMode="auto">
            <a:xfrm>
              <a:off x="11672888" y="20681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10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1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10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10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13"/>
            <p:cNvSpPr/>
            <p:nvPr/>
          </p:nvSpPr>
          <p:spPr bwMode="auto">
            <a:xfrm>
              <a:off x="11672888" y="2106295"/>
              <a:ext cx="46038" cy="9525"/>
            </a:xfrm>
            <a:custGeom>
              <a:avLst/>
              <a:gdLst>
                <a:gd name="T0" fmla="*/ 129 w 144"/>
                <a:gd name="T1" fmla="*/ 0 h 30"/>
                <a:gd name="T2" fmla="*/ 15 w 144"/>
                <a:gd name="T3" fmla="*/ 0 h 30"/>
                <a:gd name="T4" fmla="*/ 12 w 144"/>
                <a:gd name="T5" fmla="*/ 0 h 30"/>
                <a:gd name="T6" fmla="*/ 10 w 144"/>
                <a:gd name="T7" fmla="*/ 1 h 30"/>
                <a:gd name="T8" fmla="*/ 6 w 144"/>
                <a:gd name="T9" fmla="*/ 3 h 30"/>
                <a:gd name="T10" fmla="*/ 4 w 144"/>
                <a:gd name="T11" fmla="*/ 4 h 30"/>
                <a:gd name="T12" fmla="*/ 2 w 144"/>
                <a:gd name="T13" fmla="*/ 7 h 30"/>
                <a:gd name="T14" fmla="*/ 1 w 144"/>
                <a:gd name="T15" fmla="*/ 10 h 30"/>
                <a:gd name="T16" fmla="*/ 0 w 144"/>
                <a:gd name="T17" fmla="*/ 12 h 30"/>
                <a:gd name="T18" fmla="*/ 0 w 144"/>
                <a:gd name="T19" fmla="*/ 15 h 30"/>
                <a:gd name="T20" fmla="*/ 0 w 144"/>
                <a:gd name="T21" fmla="*/ 18 h 30"/>
                <a:gd name="T22" fmla="*/ 1 w 144"/>
                <a:gd name="T23" fmla="*/ 22 h 30"/>
                <a:gd name="T24" fmla="*/ 2 w 144"/>
                <a:gd name="T25" fmla="*/ 24 h 30"/>
                <a:gd name="T26" fmla="*/ 4 w 144"/>
                <a:gd name="T27" fmla="*/ 26 h 30"/>
                <a:gd name="T28" fmla="*/ 6 w 144"/>
                <a:gd name="T29" fmla="*/ 28 h 30"/>
                <a:gd name="T30" fmla="*/ 10 w 144"/>
                <a:gd name="T31" fmla="*/ 29 h 30"/>
                <a:gd name="T32" fmla="*/ 12 w 144"/>
                <a:gd name="T33" fmla="*/ 30 h 30"/>
                <a:gd name="T34" fmla="*/ 15 w 144"/>
                <a:gd name="T35" fmla="*/ 30 h 30"/>
                <a:gd name="T36" fmla="*/ 129 w 144"/>
                <a:gd name="T37" fmla="*/ 30 h 30"/>
                <a:gd name="T38" fmla="*/ 132 w 144"/>
                <a:gd name="T39" fmla="*/ 30 h 30"/>
                <a:gd name="T40" fmla="*/ 135 w 144"/>
                <a:gd name="T41" fmla="*/ 29 h 30"/>
                <a:gd name="T42" fmla="*/ 137 w 144"/>
                <a:gd name="T43" fmla="*/ 28 h 30"/>
                <a:gd name="T44" fmla="*/ 139 w 144"/>
                <a:gd name="T45" fmla="*/ 26 h 30"/>
                <a:gd name="T46" fmla="*/ 142 w 144"/>
                <a:gd name="T47" fmla="*/ 24 h 30"/>
                <a:gd name="T48" fmla="*/ 143 w 144"/>
                <a:gd name="T49" fmla="*/ 22 h 30"/>
                <a:gd name="T50" fmla="*/ 144 w 144"/>
                <a:gd name="T51" fmla="*/ 18 h 30"/>
                <a:gd name="T52" fmla="*/ 144 w 144"/>
                <a:gd name="T53" fmla="*/ 15 h 30"/>
                <a:gd name="T54" fmla="*/ 144 w 144"/>
                <a:gd name="T55" fmla="*/ 12 h 30"/>
                <a:gd name="T56" fmla="*/ 143 w 144"/>
                <a:gd name="T57" fmla="*/ 10 h 30"/>
                <a:gd name="T58" fmla="*/ 142 w 144"/>
                <a:gd name="T59" fmla="*/ 7 h 30"/>
                <a:gd name="T60" fmla="*/ 139 w 144"/>
                <a:gd name="T61" fmla="*/ 4 h 30"/>
                <a:gd name="T62" fmla="*/ 137 w 144"/>
                <a:gd name="T63" fmla="*/ 3 h 30"/>
                <a:gd name="T64" fmla="*/ 135 w 144"/>
                <a:gd name="T65" fmla="*/ 1 h 30"/>
                <a:gd name="T66" fmla="*/ 132 w 144"/>
                <a:gd name="T67" fmla="*/ 0 h 30"/>
                <a:gd name="T68" fmla="*/ 129 w 144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0">
                  <a:moveTo>
                    <a:pt x="129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7" y="28"/>
                  </a:lnTo>
                  <a:lnTo>
                    <a:pt x="139" y="26"/>
                  </a:lnTo>
                  <a:lnTo>
                    <a:pt x="142" y="24"/>
                  </a:lnTo>
                  <a:lnTo>
                    <a:pt x="143" y="22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2"/>
                  </a:lnTo>
                  <a:lnTo>
                    <a:pt x="143" y="10"/>
                  </a:lnTo>
                  <a:lnTo>
                    <a:pt x="142" y="7"/>
                  </a:lnTo>
                  <a:lnTo>
                    <a:pt x="139" y="4"/>
                  </a:lnTo>
                  <a:lnTo>
                    <a:pt x="137" y="3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14"/>
            <p:cNvSpPr/>
            <p:nvPr/>
          </p:nvSpPr>
          <p:spPr bwMode="auto">
            <a:xfrm>
              <a:off x="11758613" y="2044383"/>
              <a:ext cx="44450" cy="109538"/>
            </a:xfrm>
            <a:custGeom>
              <a:avLst/>
              <a:gdLst>
                <a:gd name="T0" fmla="*/ 88 w 144"/>
                <a:gd name="T1" fmla="*/ 76 h 345"/>
                <a:gd name="T2" fmla="*/ 106 w 144"/>
                <a:gd name="T3" fmla="*/ 91 h 345"/>
                <a:gd name="T4" fmla="*/ 114 w 144"/>
                <a:gd name="T5" fmla="*/ 115 h 345"/>
                <a:gd name="T6" fmla="*/ 116 w 144"/>
                <a:gd name="T7" fmla="*/ 122 h 345"/>
                <a:gd name="T8" fmla="*/ 122 w 144"/>
                <a:gd name="T9" fmla="*/ 129 h 345"/>
                <a:gd name="T10" fmla="*/ 131 w 144"/>
                <a:gd name="T11" fmla="*/ 129 h 345"/>
                <a:gd name="T12" fmla="*/ 138 w 144"/>
                <a:gd name="T13" fmla="*/ 125 h 345"/>
                <a:gd name="T14" fmla="*/ 143 w 144"/>
                <a:gd name="T15" fmla="*/ 117 h 345"/>
                <a:gd name="T16" fmla="*/ 143 w 144"/>
                <a:gd name="T17" fmla="*/ 102 h 345"/>
                <a:gd name="T18" fmla="*/ 134 w 144"/>
                <a:gd name="T19" fmla="*/ 78 h 345"/>
                <a:gd name="T20" fmla="*/ 109 w 144"/>
                <a:gd name="T21" fmla="*/ 54 h 345"/>
                <a:gd name="T22" fmla="*/ 87 w 144"/>
                <a:gd name="T23" fmla="*/ 15 h 345"/>
                <a:gd name="T24" fmla="*/ 84 w 144"/>
                <a:gd name="T25" fmla="*/ 6 h 345"/>
                <a:gd name="T26" fmla="*/ 77 w 144"/>
                <a:gd name="T27" fmla="*/ 1 h 345"/>
                <a:gd name="T28" fmla="*/ 69 w 144"/>
                <a:gd name="T29" fmla="*/ 0 h 345"/>
                <a:gd name="T30" fmla="*/ 61 w 144"/>
                <a:gd name="T31" fmla="*/ 4 h 345"/>
                <a:gd name="T32" fmla="*/ 57 w 144"/>
                <a:gd name="T33" fmla="*/ 12 h 345"/>
                <a:gd name="T34" fmla="*/ 45 w 144"/>
                <a:gd name="T35" fmla="*/ 47 h 345"/>
                <a:gd name="T36" fmla="*/ 16 w 144"/>
                <a:gd name="T37" fmla="*/ 69 h 345"/>
                <a:gd name="T38" fmla="*/ 2 w 144"/>
                <a:gd name="T39" fmla="*/ 95 h 345"/>
                <a:gd name="T40" fmla="*/ 0 w 144"/>
                <a:gd name="T41" fmla="*/ 115 h 345"/>
                <a:gd name="T42" fmla="*/ 3 w 144"/>
                <a:gd name="T43" fmla="*/ 136 h 345"/>
                <a:gd name="T44" fmla="*/ 12 w 144"/>
                <a:gd name="T45" fmla="*/ 154 h 345"/>
                <a:gd name="T46" fmla="*/ 26 w 144"/>
                <a:gd name="T47" fmla="*/ 169 h 345"/>
                <a:gd name="T48" fmla="*/ 43 w 144"/>
                <a:gd name="T49" fmla="*/ 180 h 345"/>
                <a:gd name="T50" fmla="*/ 64 w 144"/>
                <a:gd name="T51" fmla="*/ 185 h 345"/>
                <a:gd name="T52" fmla="*/ 88 w 144"/>
                <a:gd name="T53" fmla="*/ 190 h 345"/>
                <a:gd name="T54" fmla="*/ 106 w 144"/>
                <a:gd name="T55" fmla="*/ 205 h 345"/>
                <a:gd name="T56" fmla="*/ 114 w 144"/>
                <a:gd name="T57" fmla="*/ 228 h 345"/>
                <a:gd name="T58" fmla="*/ 106 w 144"/>
                <a:gd name="T59" fmla="*/ 251 h 345"/>
                <a:gd name="T60" fmla="*/ 88 w 144"/>
                <a:gd name="T61" fmla="*/ 267 h 345"/>
                <a:gd name="T62" fmla="*/ 63 w 144"/>
                <a:gd name="T63" fmla="*/ 269 h 345"/>
                <a:gd name="T64" fmla="*/ 42 w 144"/>
                <a:gd name="T65" fmla="*/ 257 h 345"/>
                <a:gd name="T66" fmla="*/ 30 w 144"/>
                <a:gd name="T67" fmla="*/ 236 h 345"/>
                <a:gd name="T68" fmla="*/ 28 w 144"/>
                <a:gd name="T69" fmla="*/ 222 h 345"/>
                <a:gd name="T70" fmla="*/ 22 w 144"/>
                <a:gd name="T71" fmla="*/ 216 h 345"/>
                <a:gd name="T72" fmla="*/ 15 w 144"/>
                <a:gd name="T73" fmla="*/ 213 h 345"/>
                <a:gd name="T74" fmla="*/ 6 w 144"/>
                <a:gd name="T75" fmla="*/ 216 h 345"/>
                <a:gd name="T76" fmla="*/ 1 w 144"/>
                <a:gd name="T77" fmla="*/ 222 h 345"/>
                <a:gd name="T78" fmla="*/ 0 w 144"/>
                <a:gd name="T79" fmla="*/ 235 h 345"/>
                <a:gd name="T80" fmla="*/ 4 w 144"/>
                <a:gd name="T81" fmla="*/ 253 h 345"/>
                <a:gd name="T82" fmla="*/ 24 w 144"/>
                <a:gd name="T83" fmla="*/ 282 h 345"/>
                <a:gd name="T84" fmla="*/ 57 w 144"/>
                <a:gd name="T85" fmla="*/ 298 h 345"/>
                <a:gd name="T86" fmla="*/ 58 w 144"/>
                <a:gd name="T87" fmla="*/ 337 h 345"/>
                <a:gd name="T88" fmla="*/ 63 w 144"/>
                <a:gd name="T89" fmla="*/ 343 h 345"/>
                <a:gd name="T90" fmla="*/ 72 w 144"/>
                <a:gd name="T91" fmla="*/ 345 h 345"/>
                <a:gd name="T92" fmla="*/ 79 w 144"/>
                <a:gd name="T93" fmla="*/ 343 h 345"/>
                <a:gd name="T94" fmla="*/ 85 w 144"/>
                <a:gd name="T95" fmla="*/ 337 h 345"/>
                <a:gd name="T96" fmla="*/ 87 w 144"/>
                <a:gd name="T97" fmla="*/ 298 h 345"/>
                <a:gd name="T98" fmla="*/ 119 w 144"/>
                <a:gd name="T99" fmla="*/ 282 h 345"/>
                <a:gd name="T100" fmla="*/ 139 w 144"/>
                <a:gd name="T101" fmla="*/ 253 h 345"/>
                <a:gd name="T102" fmla="*/ 143 w 144"/>
                <a:gd name="T103" fmla="*/ 235 h 345"/>
                <a:gd name="T104" fmla="*/ 141 w 144"/>
                <a:gd name="T105" fmla="*/ 213 h 345"/>
                <a:gd name="T106" fmla="*/ 134 w 144"/>
                <a:gd name="T107" fmla="*/ 194 h 345"/>
                <a:gd name="T108" fmla="*/ 122 w 144"/>
                <a:gd name="T109" fmla="*/ 177 h 345"/>
                <a:gd name="T110" fmla="*/ 106 w 144"/>
                <a:gd name="T111" fmla="*/ 165 h 345"/>
                <a:gd name="T112" fmla="*/ 86 w 144"/>
                <a:gd name="T113" fmla="*/ 158 h 345"/>
                <a:gd name="T114" fmla="*/ 63 w 144"/>
                <a:gd name="T115" fmla="*/ 155 h 345"/>
                <a:gd name="T116" fmla="*/ 42 w 144"/>
                <a:gd name="T117" fmla="*/ 144 h 345"/>
                <a:gd name="T118" fmla="*/ 30 w 144"/>
                <a:gd name="T119" fmla="*/ 122 h 345"/>
                <a:gd name="T120" fmla="*/ 33 w 144"/>
                <a:gd name="T121" fmla="*/ 98 h 345"/>
                <a:gd name="T122" fmla="*/ 48 w 144"/>
                <a:gd name="T123" fmla="*/ 79 h 345"/>
                <a:gd name="T124" fmla="*/ 72 w 144"/>
                <a:gd name="T125" fmla="*/ 72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345">
                  <a:moveTo>
                    <a:pt x="72" y="72"/>
                  </a:moveTo>
                  <a:lnTo>
                    <a:pt x="79" y="73"/>
                  </a:lnTo>
                  <a:lnTo>
                    <a:pt x="88" y="76"/>
                  </a:lnTo>
                  <a:lnTo>
                    <a:pt x="94" y="79"/>
                  </a:lnTo>
                  <a:lnTo>
                    <a:pt x="101" y="85"/>
                  </a:lnTo>
                  <a:lnTo>
                    <a:pt x="106" y="91"/>
                  </a:lnTo>
                  <a:lnTo>
                    <a:pt x="109" y="98"/>
                  </a:lnTo>
                  <a:lnTo>
                    <a:pt x="113" y="106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5" y="120"/>
                  </a:lnTo>
                  <a:lnTo>
                    <a:pt x="116" y="122"/>
                  </a:lnTo>
                  <a:lnTo>
                    <a:pt x="118" y="125"/>
                  </a:lnTo>
                  <a:lnTo>
                    <a:pt x="120" y="126"/>
                  </a:lnTo>
                  <a:lnTo>
                    <a:pt x="122" y="129"/>
                  </a:lnTo>
                  <a:lnTo>
                    <a:pt x="125" y="129"/>
                  </a:lnTo>
                  <a:lnTo>
                    <a:pt x="129" y="130"/>
                  </a:lnTo>
                  <a:lnTo>
                    <a:pt x="131" y="129"/>
                  </a:lnTo>
                  <a:lnTo>
                    <a:pt x="134" y="129"/>
                  </a:lnTo>
                  <a:lnTo>
                    <a:pt x="136" y="126"/>
                  </a:lnTo>
                  <a:lnTo>
                    <a:pt x="138" y="125"/>
                  </a:lnTo>
                  <a:lnTo>
                    <a:pt x="140" y="122"/>
                  </a:lnTo>
                  <a:lnTo>
                    <a:pt x="141" y="120"/>
                  </a:lnTo>
                  <a:lnTo>
                    <a:pt x="143" y="117"/>
                  </a:lnTo>
                  <a:lnTo>
                    <a:pt x="144" y="115"/>
                  </a:lnTo>
                  <a:lnTo>
                    <a:pt x="143" y="108"/>
                  </a:lnTo>
                  <a:lnTo>
                    <a:pt x="143" y="102"/>
                  </a:lnTo>
                  <a:lnTo>
                    <a:pt x="140" y="95"/>
                  </a:lnTo>
                  <a:lnTo>
                    <a:pt x="139" y="90"/>
                  </a:lnTo>
                  <a:lnTo>
                    <a:pt x="134" y="78"/>
                  </a:lnTo>
                  <a:lnTo>
                    <a:pt x="126" y="69"/>
                  </a:lnTo>
                  <a:lnTo>
                    <a:pt x="119" y="60"/>
                  </a:lnTo>
                  <a:lnTo>
                    <a:pt x="109" y="54"/>
                  </a:lnTo>
                  <a:lnTo>
                    <a:pt x="99" y="47"/>
                  </a:lnTo>
                  <a:lnTo>
                    <a:pt x="87" y="44"/>
                  </a:lnTo>
                  <a:lnTo>
                    <a:pt x="87" y="15"/>
                  </a:lnTo>
                  <a:lnTo>
                    <a:pt x="86" y="12"/>
                  </a:lnTo>
                  <a:lnTo>
                    <a:pt x="85" y="9"/>
                  </a:lnTo>
                  <a:lnTo>
                    <a:pt x="84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1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5" y="1"/>
                  </a:lnTo>
                  <a:lnTo>
                    <a:pt x="63" y="2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8" y="10"/>
                  </a:lnTo>
                  <a:lnTo>
                    <a:pt x="57" y="12"/>
                  </a:lnTo>
                  <a:lnTo>
                    <a:pt x="57" y="15"/>
                  </a:lnTo>
                  <a:lnTo>
                    <a:pt x="57" y="44"/>
                  </a:lnTo>
                  <a:lnTo>
                    <a:pt x="45" y="47"/>
                  </a:lnTo>
                  <a:lnTo>
                    <a:pt x="33" y="53"/>
                  </a:lnTo>
                  <a:lnTo>
                    <a:pt x="24" y="60"/>
                  </a:lnTo>
                  <a:lnTo>
                    <a:pt x="16" y="69"/>
                  </a:lnTo>
                  <a:lnTo>
                    <a:pt x="9" y="78"/>
                  </a:lnTo>
                  <a:lnTo>
                    <a:pt x="4" y="90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3" y="136"/>
                  </a:lnTo>
                  <a:lnTo>
                    <a:pt x="5" y="143"/>
                  </a:lnTo>
                  <a:lnTo>
                    <a:pt x="9" y="149"/>
                  </a:lnTo>
                  <a:lnTo>
                    <a:pt x="12" y="154"/>
                  </a:lnTo>
                  <a:lnTo>
                    <a:pt x="16" y="160"/>
                  </a:lnTo>
                  <a:lnTo>
                    <a:pt x="20" y="165"/>
                  </a:lnTo>
                  <a:lnTo>
                    <a:pt x="26" y="169"/>
                  </a:lnTo>
                  <a:lnTo>
                    <a:pt x="31" y="174"/>
                  </a:lnTo>
                  <a:lnTo>
                    <a:pt x="37" y="178"/>
                  </a:lnTo>
                  <a:lnTo>
                    <a:pt x="43" y="180"/>
                  </a:lnTo>
                  <a:lnTo>
                    <a:pt x="50" y="183"/>
                  </a:lnTo>
                  <a:lnTo>
                    <a:pt x="57" y="184"/>
                  </a:lnTo>
                  <a:lnTo>
                    <a:pt x="64" y="185"/>
                  </a:lnTo>
                  <a:lnTo>
                    <a:pt x="72" y="187"/>
                  </a:lnTo>
                  <a:lnTo>
                    <a:pt x="79" y="187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101" y="198"/>
                  </a:lnTo>
                  <a:lnTo>
                    <a:pt x="106" y="205"/>
                  </a:lnTo>
                  <a:lnTo>
                    <a:pt x="109" y="211"/>
                  </a:lnTo>
                  <a:lnTo>
                    <a:pt x="113" y="220"/>
                  </a:lnTo>
                  <a:lnTo>
                    <a:pt x="114" y="228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6" y="251"/>
                  </a:lnTo>
                  <a:lnTo>
                    <a:pt x="101" y="257"/>
                  </a:lnTo>
                  <a:lnTo>
                    <a:pt x="94" y="263"/>
                  </a:lnTo>
                  <a:lnTo>
                    <a:pt x="88" y="267"/>
                  </a:lnTo>
                  <a:lnTo>
                    <a:pt x="79" y="269"/>
                  </a:lnTo>
                  <a:lnTo>
                    <a:pt x="72" y="270"/>
                  </a:lnTo>
                  <a:lnTo>
                    <a:pt x="63" y="269"/>
                  </a:lnTo>
                  <a:lnTo>
                    <a:pt x="55" y="267"/>
                  </a:lnTo>
                  <a:lnTo>
                    <a:pt x="48" y="263"/>
                  </a:lnTo>
                  <a:lnTo>
                    <a:pt x="42" y="257"/>
                  </a:lnTo>
                  <a:lnTo>
                    <a:pt x="36" y="251"/>
                  </a:lnTo>
                  <a:lnTo>
                    <a:pt x="33" y="244"/>
                  </a:lnTo>
                  <a:lnTo>
                    <a:pt x="30" y="236"/>
                  </a:lnTo>
                  <a:lnTo>
                    <a:pt x="30" y="228"/>
                  </a:lnTo>
                  <a:lnTo>
                    <a:pt x="29" y="225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5" y="218"/>
                  </a:lnTo>
                  <a:lnTo>
                    <a:pt x="22" y="216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5" y="213"/>
                  </a:lnTo>
                  <a:lnTo>
                    <a:pt x="12" y="213"/>
                  </a:lnTo>
                  <a:lnTo>
                    <a:pt x="9" y="214"/>
                  </a:lnTo>
                  <a:lnTo>
                    <a:pt x="6" y="216"/>
                  </a:lnTo>
                  <a:lnTo>
                    <a:pt x="4" y="218"/>
                  </a:lnTo>
                  <a:lnTo>
                    <a:pt x="2" y="220"/>
                  </a:lnTo>
                  <a:lnTo>
                    <a:pt x="1" y="222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5"/>
                  </a:lnTo>
                  <a:lnTo>
                    <a:pt x="1" y="240"/>
                  </a:lnTo>
                  <a:lnTo>
                    <a:pt x="2" y="247"/>
                  </a:lnTo>
                  <a:lnTo>
                    <a:pt x="4" y="253"/>
                  </a:lnTo>
                  <a:lnTo>
                    <a:pt x="9" y="264"/>
                  </a:lnTo>
                  <a:lnTo>
                    <a:pt x="16" y="273"/>
                  </a:lnTo>
                  <a:lnTo>
                    <a:pt x="24" y="282"/>
                  </a:lnTo>
                  <a:lnTo>
                    <a:pt x="33" y="289"/>
                  </a:lnTo>
                  <a:lnTo>
                    <a:pt x="45" y="295"/>
                  </a:lnTo>
                  <a:lnTo>
                    <a:pt x="57" y="298"/>
                  </a:lnTo>
                  <a:lnTo>
                    <a:pt x="57" y="330"/>
                  </a:lnTo>
                  <a:lnTo>
                    <a:pt x="57" y="333"/>
                  </a:lnTo>
                  <a:lnTo>
                    <a:pt x="58" y="337"/>
                  </a:lnTo>
                  <a:lnTo>
                    <a:pt x="59" y="339"/>
                  </a:lnTo>
                  <a:lnTo>
                    <a:pt x="61" y="341"/>
                  </a:lnTo>
                  <a:lnTo>
                    <a:pt x="63" y="343"/>
                  </a:lnTo>
                  <a:lnTo>
                    <a:pt x="65" y="344"/>
                  </a:lnTo>
                  <a:lnTo>
                    <a:pt x="69" y="345"/>
                  </a:lnTo>
                  <a:lnTo>
                    <a:pt x="72" y="345"/>
                  </a:lnTo>
                  <a:lnTo>
                    <a:pt x="74" y="345"/>
                  </a:lnTo>
                  <a:lnTo>
                    <a:pt x="77" y="344"/>
                  </a:lnTo>
                  <a:lnTo>
                    <a:pt x="79" y="343"/>
                  </a:lnTo>
                  <a:lnTo>
                    <a:pt x="81" y="341"/>
                  </a:lnTo>
                  <a:lnTo>
                    <a:pt x="84" y="339"/>
                  </a:lnTo>
                  <a:lnTo>
                    <a:pt x="85" y="337"/>
                  </a:lnTo>
                  <a:lnTo>
                    <a:pt x="86" y="333"/>
                  </a:lnTo>
                  <a:lnTo>
                    <a:pt x="87" y="330"/>
                  </a:lnTo>
                  <a:lnTo>
                    <a:pt x="87" y="298"/>
                  </a:lnTo>
                  <a:lnTo>
                    <a:pt x="99" y="295"/>
                  </a:lnTo>
                  <a:lnTo>
                    <a:pt x="109" y="289"/>
                  </a:lnTo>
                  <a:lnTo>
                    <a:pt x="119" y="282"/>
                  </a:lnTo>
                  <a:lnTo>
                    <a:pt x="126" y="273"/>
                  </a:lnTo>
                  <a:lnTo>
                    <a:pt x="134" y="264"/>
                  </a:lnTo>
                  <a:lnTo>
                    <a:pt x="139" y="253"/>
                  </a:lnTo>
                  <a:lnTo>
                    <a:pt x="140" y="247"/>
                  </a:lnTo>
                  <a:lnTo>
                    <a:pt x="143" y="240"/>
                  </a:lnTo>
                  <a:lnTo>
                    <a:pt x="143" y="235"/>
                  </a:lnTo>
                  <a:lnTo>
                    <a:pt x="144" y="228"/>
                  </a:lnTo>
                  <a:lnTo>
                    <a:pt x="143" y="221"/>
                  </a:lnTo>
                  <a:lnTo>
                    <a:pt x="141" y="213"/>
                  </a:lnTo>
                  <a:lnTo>
                    <a:pt x="140" y="207"/>
                  </a:lnTo>
                  <a:lnTo>
                    <a:pt x="137" y="200"/>
                  </a:lnTo>
                  <a:lnTo>
                    <a:pt x="134" y="194"/>
                  </a:lnTo>
                  <a:lnTo>
                    <a:pt x="131" y="188"/>
                  </a:lnTo>
                  <a:lnTo>
                    <a:pt x="126" y="182"/>
                  </a:lnTo>
                  <a:lnTo>
                    <a:pt x="122" y="177"/>
                  </a:lnTo>
                  <a:lnTo>
                    <a:pt x="117" y="173"/>
                  </a:lnTo>
                  <a:lnTo>
                    <a:pt x="111" y="168"/>
                  </a:lnTo>
                  <a:lnTo>
                    <a:pt x="106" y="165"/>
                  </a:lnTo>
                  <a:lnTo>
                    <a:pt x="100" y="162"/>
                  </a:lnTo>
                  <a:lnTo>
                    <a:pt x="92" y="160"/>
                  </a:lnTo>
                  <a:lnTo>
                    <a:pt x="86" y="158"/>
                  </a:lnTo>
                  <a:lnTo>
                    <a:pt x="78" y="157"/>
                  </a:lnTo>
                  <a:lnTo>
                    <a:pt x="72" y="157"/>
                  </a:lnTo>
                  <a:lnTo>
                    <a:pt x="63" y="155"/>
                  </a:lnTo>
                  <a:lnTo>
                    <a:pt x="55" y="153"/>
                  </a:lnTo>
                  <a:lnTo>
                    <a:pt x="48" y="149"/>
                  </a:lnTo>
                  <a:lnTo>
                    <a:pt x="42" y="144"/>
                  </a:lnTo>
                  <a:lnTo>
                    <a:pt x="36" y="137"/>
                  </a:lnTo>
                  <a:lnTo>
                    <a:pt x="33" y="131"/>
                  </a:lnTo>
                  <a:lnTo>
                    <a:pt x="30" y="122"/>
                  </a:lnTo>
                  <a:lnTo>
                    <a:pt x="30" y="115"/>
                  </a:lnTo>
                  <a:lnTo>
                    <a:pt x="30" y="106"/>
                  </a:lnTo>
                  <a:lnTo>
                    <a:pt x="33" y="98"/>
                  </a:lnTo>
                  <a:lnTo>
                    <a:pt x="36" y="91"/>
                  </a:lnTo>
                  <a:lnTo>
                    <a:pt x="42" y="85"/>
                  </a:lnTo>
                  <a:lnTo>
                    <a:pt x="48" y="79"/>
                  </a:lnTo>
                  <a:lnTo>
                    <a:pt x="55" y="76"/>
                  </a:lnTo>
                  <a:lnTo>
                    <a:pt x="63" y="73"/>
                  </a:lnTo>
                  <a:lnTo>
                    <a:pt x="7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Freeform 135"/>
          <p:cNvSpPr>
            <a:spLocks noEditPoints="1"/>
          </p:cNvSpPr>
          <p:nvPr/>
        </p:nvSpPr>
        <p:spPr bwMode="auto">
          <a:xfrm>
            <a:off x="2625182" y="2466074"/>
            <a:ext cx="592334" cy="592334"/>
          </a:xfrm>
          <a:custGeom>
            <a:avLst/>
            <a:gdLst>
              <a:gd name="T0" fmla="*/ 783 w 903"/>
              <a:gd name="T1" fmla="*/ 533 h 903"/>
              <a:gd name="T2" fmla="*/ 853 w 903"/>
              <a:gd name="T3" fmla="*/ 505 h 903"/>
              <a:gd name="T4" fmla="*/ 853 w 903"/>
              <a:gd name="T5" fmla="*/ 580 h 903"/>
              <a:gd name="T6" fmla="*/ 435 w 903"/>
              <a:gd name="T7" fmla="*/ 504 h 903"/>
              <a:gd name="T8" fmla="*/ 376 w 903"/>
              <a:gd name="T9" fmla="*/ 392 h 903"/>
              <a:gd name="T10" fmla="*/ 435 w 903"/>
              <a:gd name="T11" fmla="*/ 280 h 903"/>
              <a:gd name="T12" fmla="*/ 564 w 903"/>
              <a:gd name="T13" fmla="*/ 267 h 903"/>
              <a:gd name="T14" fmla="*/ 644 w 903"/>
              <a:gd name="T15" fmla="*/ 365 h 903"/>
              <a:gd name="T16" fmla="*/ 607 w 903"/>
              <a:gd name="T17" fmla="*/ 488 h 903"/>
              <a:gd name="T18" fmla="*/ 65 w 903"/>
              <a:gd name="T19" fmla="*/ 873 h 903"/>
              <a:gd name="T20" fmla="*/ 37 w 903"/>
              <a:gd name="T21" fmla="*/ 803 h 903"/>
              <a:gd name="T22" fmla="*/ 112 w 903"/>
              <a:gd name="T23" fmla="*/ 803 h 903"/>
              <a:gd name="T24" fmla="*/ 84 w 903"/>
              <a:gd name="T25" fmla="*/ 873 h 903"/>
              <a:gd name="T26" fmla="*/ 873 w 903"/>
              <a:gd name="T27" fmla="*/ 76 h 903"/>
              <a:gd name="T28" fmla="*/ 810 w 903"/>
              <a:gd name="T29" fmla="*/ 117 h 903"/>
              <a:gd name="T30" fmla="*/ 796 w 903"/>
              <a:gd name="T31" fmla="*/ 44 h 903"/>
              <a:gd name="T32" fmla="*/ 559 w 903"/>
              <a:gd name="T33" fmla="*/ 860 h 903"/>
              <a:gd name="T34" fmla="*/ 485 w 903"/>
              <a:gd name="T35" fmla="*/ 846 h 903"/>
              <a:gd name="T36" fmla="*/ 526 w 903"/>
              <a:gd name="T37" fmla="*/ 783 h 903"/>
              <a:gd name="T38" fmla="*/ 65 w 903"/>
              <a:gd name="T39" fmla="*/ 255 h 903"/>
              <a:gd name="T40" fmla="*/ 37 w 903"/>
              <a:gd name="T41" fmla="*/ 186 h 903"/>
              <a:gd name="T42" fmla="*/ 112 w 903"/>
              <a:gd name="T43" fmla="*/ 186 h 903"/>
              <a:gd name="T44" fmla="*/ 84 w 903"/>
              <a:gd name="T45" fmla="*/ 255 h 903"/>
              <a:gd name="T46" fmla="*/ 768 w 903"/>
              <a:gd name="T47" fmla="*/ 498 h 903"/>
              <a:gd name="T48" fmla="*/ 662 w 903"/>
              <a:gd name="T49" fmla="*/ 322 h 903"/>
              <a:gd name="T50" fmla="*/ 843 w 903"/>
              <a:gd name="T51" fmla="*/ 149 h 903"/>
              <a:gd name="T52" fmla="*/ 896 w 903"/>
              <a:gd name="T53" fmla="*/ 105 h 903"/>
              <a:gd name="T54" fmla="*/ 890 w 903"/>
              <a:gd name="T55" fmla="*/ 33 h 903"/>
              <a:gd name="T56" fmla="*/ 828 w 903"/>
              <a:gd name="T57" fmla="*/ 0 h 903"/>
              <a:gd name="T58" fmla="*/ 765 w 903"/>
              <a:gd name="T59" fmla="*/ 33 h 903"/>
              <a:gd name="T60" fmla="*/ 765 w 903"/>
              <a:gd name="T61" fmla="*/ 117 h 903"/>
              <a:gd name="T62" fmla="*/ 500 w 903"/>
              <a:gd name="T63" fmla="*/ 226 h 903"/>
              <a:gd name="T64" fmla="*/ 399 w 903"/>
              <a:gd name="T65" fmla="*/ 272 h 903"/>
              <a:gd name="T66" fmla="*/ 149 w 903"/>
              <a:gd name="T67" fmla="*/ 196 h 903"/>
              <a:gd name="T68" fmla="*/ 104 w 903"/>
              <a:gd name="T69" fmla="*/ 142 h 903"/>
              <a:gd name="T70" fmla="*/ 33 w 903"/>
              <a:gd name="T71" fmla="*/ 149 h 903"/>
              <a:gd name="T72" fmla="*/ 0 w 903"/>
              <a:gd name="T73" fmla="*/ 211 h 903"/>
              <a:gd name="T74" fmla="*/ 33 w 903"/>
              <a:gd name="T75" fmla="*/ 274 h 903"/>
              <a:gd name="T76" fmla="*/ 110 w 903"/>
              <a:gd name="T77" fmla="*/ 278 h 903"/>
              <a:gd name="T78" fmla="*/ 346 w 903"/>
              <a:gd name="T79" fmla="*/ 407 h 903"/>
              <a:gd name="T80" fmla="*/ 96 w 903"/>
              <a:gd name="T81" fmla="*/ 756 h 903"/>
              <a:gd name="T82" fmla="*/ 21 w 903"/>
              <a:gd name="T83" fmla="*/ 776 h 903"/>
              <a:gd name="T84" fmla="*/ 1 w 903"/>
              <a:gd name="T85" fmla="*/ 843 h 903"/>
              <a:gd name="T86" fmla="*/ 46 w 903"/>
              <a:gd name="T87" fmla="*/ 898 h 903"/>
              <a:gd name="T88" fmla="*/ 117 w 903"/>
              <a:gd name="T89" fmla="*/ 890 h 903"/>
              <a:gd name="T90" fmla="*/ 150 w 903"/>
              <a:gd name="T91" fmla="*/ 828 h 903"/>
              <a:gd name="T92" fmla="*/ 467 w 903"/>
              <a:gd name="T93" fmla="*/ 551 h 903"/>
              <a:gd name="T94" fmla="*/ 469 w 903"/>
              <a:gd name="T95" fmla="*/ 781 h 903"/>
              <a:gd name="T96" fmla="*/ 452 w 903"/>
              <a:gd name="T97" fmla="*/ 843 h 903"/>
              <a:gd name="T98" fmla="*/ 498 w 903"/>
              <a:gd name="T99" fmla="*/ 898 h 903"/>
              <a:gd name="T100" fmla="*/ 568 w 903"/>
              <a:gd name="T101" fmla="*/ 890 h 903"/>
              <a:gd name="T102" fmla="*/ 602 w 903"/>
              <a:gd name="T103" fmla="*/ 828 h 903"/>
              <a:gd name="T104" fmla="*/ 565 w 903"/>
              <a:gd name="T105" fmla="*/ 764 h 903"/>
              <a:gd name="T106" fmla="*/ 620 w 903"/>
              <a:gd name="T107" fmla="*/ 516 h 903"/>
              <a:gd name="T108" fmla="*/ 758 w 903"/>
              <a:gd name="T109" fmla="*/ 572 h 903"/>
              <a:gd name="T110" fmla="*/ 812 w 903"/>
              <a:gd name="T111" fmla="*/ 616 h 903"/>
              <a:gd name="T112" fmla="*/ 880 w 903"/>
              <a:gd name="T113" fmla="*/ 595 h 903"/>
              <a:gd name="T114" fmla="*/ 901 w 903"/>
              <a:gd name="T115" fmla="*/ 528 h 903"/>
              <a:gd name="T116" fmla="*/ 857 w 903"/>
              <a:gd name="T117" fmla="*/ 473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3">
                <a:moveTo>
                  <a:pt x="828" y="588"/>
                </a:moveTo>
                <a:lnTo>
                  <a:pt x="818" y="587"/>
                </a:lnTo>
                <a:lnTo>
                  <a:pt x="810" y="584"/>
                </a:lnTo>
                <a:lnTo>
                  <a:pt x="802" y="580"/>
                </a:lnTo>
                <a:lnTo>
                  <a:pt x="796" y="574"/>
                </a:lnTo>
                <a:lnTo>
                  <a:pt x="790" y="567"/>
                </a:lnTo>
                <a:lnTo>
                  <a:pt x="786" y="560"/>
                </a:lnTo>
                <a:lnTo>
                  <a:pt x="783" y="551"/>
                </a:lnTo>
                <a:lnTo>
                  <a:pt x="783" y="543"/>
                </a:lnTo>
                <a:lnTo>
                  <a:pt x="783" y="533"/>
                </a:lnTo>
                <a:lnTo>
                  <a:pt x="786" y="525"/>
                </a:lnTo>
                <a:lnTo>
                  <a:pt x="790" y="517"/>
                </a:lnTo>
                <a:lnTo>
                  <a:pt x="796" y="511"/>
                </a:lnTo>
                <a:lnTo>
                  <a:pt x="802" y="505"/>
                </a:lnTo>
                <a:lnTo>
                  <a:pt x="810" y="501"/>
                </a:lnTo>
                <a:lnTo>
                  <a:pt x="818" y="498"/>
                </a:lnTo>
                <a:lnTo>
                  <a:pt x="828" y="498"/>
                </a:lnTo>
                <a:lnTo>
                  <a:pt x="836" y="498"/>
                </a:lnTo>
                <a:lnTo>
                  <a:pt x="845" y="501"/>
                </a:lnTo>
                <a:lnTo>
                  <a:pt x="853" y="505"/>
                </a:lnTo>
                <a:lnTo>
                  <a:pt x="859" y="511"/>
                </a:lnTo>
                <a:lnTo>
                  <a:pt x="864" y="517"/>
                </a:lnTo>
                <a:lnTo>
                  <a:pt x="869" y="525"/>
                </a:lnTo>
                <a:lnTo>
                  <a:pt x="872" y="533"/>
                </a:lnTo>
                <a:lnTo>
                  <a:pt x="873" y="543"/>
                </a:lnTo>
                <a:lnTo>
                  <a:pt x="872" y="551"/>
                </a:lnTo>
                <a:lnTo>
                  <a:pt x="869" y="560"/>
                </a:lnTo>
                <a:lnTo>
                  <a:pt x="865" y="567"/>
                </a:lnTo>
                <a:lnTo>
                  <a:pt x="859" y="574"/>
                </a:lnTo>
                <a:lnTo>
                  <a:pt x="853" y="580"/>
                </a:lnTo>
                <a:lnTo>
                  <a:pt x="845" y="584"/>
                </a:lnTo>
                <a:lnTo>
                  <a:pt x="836" y="587"/>
                </a:lnTo>
                <a:lnTo>
                  <a:pt x="828" y="588"/>
                </a:lnTo>
                <a:close/>
                <a:moveTo>
                  <a:pt x="511" y="528"/>
                </a:moveTo>
                <a:lnTo>
                  <a:pt x="498" y="527"/>
                </a:lnTo>
                <a:lnTo>
                  <a:pt x="484" y="525"/>
                </a:lnTo>
                <a:lnTo>
                  <a:pt x="471" y="521"/>
                </a:lnTo>
                <a:lnTo>
                  <a:pt x="459" y="517"/>
                </a:lnTo>
                <a:lnTo>
                  <a:pt x="447" y="511"/>
                </a:lnTo>
                <a:lnTo>
                  <a:pt x="435" y="504"/>
                </a:lnTo>
                <a:lnTo>
                  <a:pt x="426" y="497"/>
                </a:lnTo>
                <a:lnTo>
                  <a:pt x="416" y="488"/>
                </a:lnTo>
                <a:lnTo>
                  <a:pt x="406" y="478"/>
                </a:lnTo>
                <a:lnTo>
                  <a:pt x="399" y="468"/>
                </a:lnTo>
                <a:lnTo>
                  <a:pt x="392" y="456"/>
                </a:lnTo>
                <a:lnTo>
                  <a:pt x="387" y="444"/>
                </a:lnTo>
                <a:lnTo>
                  <a:pt x="382" y="432"/>
                </a:lnTo>
                <a:lnTo>
                  <a:pt x="378" y="420"/>
                </a:lnTo>
                <a:lnTo>
                  <a:pt x="376" y="406"/>
                </a:lnTo>
                <a:lnTo>
                  <a:pt x="376" y="392"/>
                </a:lnTo>
                <a:lnTo>
                  <a:pt x="376" y="378"/>
                </a:lnTo>
                <a:lnTo>
                  <a:pt x="378" y="365"/>
                </a:lnTo>
                <a:lnTo>
                  <a:pt x="382" y="352"/>
                </a:lnTo>
                <a:lnTo>
                  <a:pt x="387" y="339"/>
                </a:lnTo>
                <a:lnTo>
                  <a:pt x="392" y="327"/>
                </a:lnTo>
                <a:lnTo>
                  <a:pt x="399" y="317"/>
                </a:lnTo>
                <a:lnTo>
                  <a:pt x="406" y="306"/>
                </a:lnTo>
                <a:lnTo>
                  <a:pt x="416" y="296"/>
                </a:lnTo>
                <a:lnTo>
                  <a:pt x="426" y="288"/>
                </a:lnTo>
                <a:lnTo>
                  <a:pt x="435" y="280"/>
                </a:lnTo>
                <a:lnTo>
                  <a:pt x="447" y="273"/>
                </a:lnTo>
                <a:lnTo>
                  <a:pt x="459" y="267"/>
                </a:lnTo>
                <a:lnTo>
                  <a:pt x="471" y="263"/>
                </a:lnTo>
                <a:lnTo>
                  <a:pt x="484" y="260"/>
                </a:lnTo>
                <a:lnTo>
                  <a:pt x="498" y="258"/>
                </a:lnTo>
                <a:lnTo>
                  <a:pt x="511" y="257"/>
                </a:lnTo>
                <a:lnTo>
                  <a:pt x="525" y="258"/>
                </a:lnTo>
                <a:lnTo>
                  <a:pt x="538" y="260"/>
                </a:lnTo>
                <a:lnTo>
                  <a:pt x="551" y="263"/>
                </a:lnTo>
                <a:lnTo>
                  <a:pt x="564" y="267"/>
                </a:lnTo>
                <a:lnTo>
                  <a:pt x="576" y="273"/>
                </a:lnTo>
                <a:lnTo>
                  <a:pt x="587" y="280"/>
                </a:lnTo>
                <a:lnTo>
                  <a:pt x="597" y="288"/>
                </a:lnTo>
                <a:lnTo>
                  <a:pt x="607" y="296"/>
                </a:lnTo>
                <a:lnTo>
                  <a:pt x="615" y="306"/>
                </a:lnTo>
                <a:lnTo>
                  <a:pt x="624" y="317"/>
                </a:lnTo>
                <a:lnTo>
                  <a:pt x="630" y="327"/>
                </a:lnTo>
                <a:lnTo>
                  <a:pt x="636" y="339"/>
                </a:lnTo>
                <a:lnTo>
                  <a:pt x="640" y="352"/>
                </a:lnTo>
                <a:lnTo>
                  <a:pt x="644" y="365"/>
                </a:lnTo>
                <a:lnTo>
                  <a:pt x="647" y="378"/>
                </a:lnTo>
                <a:lnTo>
                  <a:pt x="647" y="392"/>
                </a:lnTo>
                <a:lnTo>
                  <a:pt x="647" y="406"/>
                </a:lnTo>
                <a:lnTo>
                  <a:pt x="644" y="420"/>
                </a:lnTo>
                <a:lnTo>
                  <a:pt x="640" y="432"/>
                </a:lnTo>
                <a:lnTo>
                  <a:pt x="636" y="444"/>
                </a:lnTo>
                <a:lnTo>
                  <a:pt x="630" y="456"/>
                </a:lnTo>
                <a:lnTo>
                  <a:pt x="624" y="468"/>
                </a:lnTo>
                <a:lnTo>
                  <a:pt x="615" y="478"/>
                </a:lnTo>
                <a:lnTo>
                  <a:pt x="607" y="488"/>
                </a:lnTo>
                <a:lnTo>
                  <a:pt x="597" y="497"/>
                </a:lnTo>
                <a:lnTo>
                  <a:pt x="587" y="504"/>
                </a:lnTo>
                <a:lnTo>
                  <a:pt x="576" y="511"/>
                </a:lnTo>
                <a:lnTo>
                  <a:pt x="564" y="517"/>
                </a:lnTo>
                <a:lnTo>
                  <a:pt x="551" y="521"/>
                </a:lnTo>
                <a:lnTo>
                  <a:pt x="538" y="525"/>
                </a:lnTo>
                <a:lnTo>
                  <a:pt x="525" y="527"/>
                </a:lnTo>
                <a:lnTo>
                  <a:pt x="511" y="528"/>
                </a:lnTo>
                <a:close/>
                <a:moveTo>
                  <a:pt x="75" y="873"/>
                </a:moveTo>
                <a:lnTo>
                  <a:pt x="65" y="873"/>
                </a:lnTo>
                <a:lnTo>
                  <a:pt x="58" y="870"/>
                </a:lnTo>
                <a:lnTo>
                  <a:pt x="49" y="866"/>
                </a:lnTo>
                <a:lnTo>
                  <a:pt x="43" y="860"/>
                </a:lnTo>
                <a:lnTo>
                  <a:pt x="37" y="854"/>
                </a:lnTo>
                <a:lnTo>
                  <a:pt x="33" y="846"/>
                </a:lnTo>
                <a:lnTo>
                  <a:pt x="31" y="838"/>
                </a:lnTo>
                <a:lnTo>
                  <a:pt x="30" y="828"/>
                </a:lnTo>
                <a:lnTo>
                  <a:pt x="31" y="819"/>
                </a:lnTo>
                <a:lnTo>
                  <a:pt x="33" y="811"/>
                </a:lnTo>
                <a:lnTo>
                  <a:pt x="37" y="803"/>
                </a:lnTo>
                <a:lnTo>
                  <a:pt x="43" y="796"/>
                </a:lnTo>
                <a:lnTo>
                  <a:pt x="49" y="791"/>
                </a:lnTo>
                <a:lnTo>
                  <a:pt x="58" y="786"/>
                </a:lnTo>
                <a:lnTo>
                  <a:pt x="65" y="784"/>
                </a:lnTo>
                <a:lnTo>
                  <a:pt x="75" y="783"/>
                </a:lnTo>
                <a:lnTo>
                  <a:pt x="84" y="784"/>
                </a:lnTo>
                <a:lnTo>
                  <a:pt x="92" y="787"/>
                </a:lnTo>
                <a:lnTo>
                  <a:pt x="100" y="791"/>
                </a:lnTo>
                <a:lnTo>
                  <a:pt x="107" y="797"/>
                </a:lnTo>
                <a:lnTo>
                  <a:pt x="112" y="803"/>
                </a:lnTo>
                <a:lnTo>
                  <a:pt x="117" y="811"/>
                </a:lnTo>
                <a:lnTo>
                  <a:pt x="119" y="819"/>
                </a:lnTo>
                <a:lnTo>
                  <a:pt x="120" y="828"/>
                </a:lnTo>
                <a:lnTo>
                  <a:pt x="119" y="838"/>
                </a:lnTo>
                <a:lnTo>
                  <a:pt x="117" y="846"/>
                </a:lnTo>
                <a:lnTo>
                  <a:pt x="112" y="854"/>
                </a:lnTo>
                <a:lnTo>
                  <a:pt x="107" y="860"/>
                </a:lnTo>
                <a:lnTo>
                  <a:pt x="100" y="866"/>
                </a:lnTo>
                <a:lnTo>
                  <a:pt x="92" y="870"/>
                </a:lnTo>
                <a:lnTo>
                  <a:pt x="84" y="873"/>
                </a:lnTo>
                <a:lnTo>
                  <a:pt x="75" y="873"/>
                </a:lnTo>
                <a:close/>
                <a:moveTo>
                  <a:pt x="828" y="30"/>
                </a:moveTo>
                <a:lnTo>
                  <a:pt x="836" y="31"/>
                </a:lnTo>
                <a:lnTo>
                  <a:pt x="845" y="35"/>
                </a:lnTo>
                <a:lnTo>
                  <a:pt x="853" y="39"/>
                </a:lnTo>
                <a:lnTo>
                  <a:pt x="859" y="44"/>
                </a:lnTo>
                <a:lnTo>
                  <a:pt x="864" y="51"/>
                </a:lnTo>
                <a:lnTo>
                  <a:pt x="869" y="58"/>
                </a:lnTo>
                <a:lnTo>
                  <a:pt x="872" y="67"/>
                </a:lnTo>
                <a:lnTo>
                  <a:pt x="873" y="76"/>
                </a:lnTo>
                <a:lnTo>
                  <a:pt x="872" y="85"/>
                </a:lnTo>
                <a:lnTo>
                  <a:pt x="869" y="94"/>
                </a:lnTo>
                <a:lnTo>
                  <a:pt x="865" y="101"/>
                </a:lnTo>
                <a:lnTo>
                  <a:pt x="859" y="107"/>
                </a:lnTo>
                <a:lnTo>
                  <a:pt x="853" y="113"/>
                </a:lnTo>
                <a:lnTo>
                  <a:pt x="845" y="117"/>
                </a:lnTo>
                <a:lnTo>
                  <a:pt x="836" y="120"/>
                </a:lnTo>
                <a:lnTo>
                  <a:pt x="828" y="121"/>
                </a:lnTo>
                <a:lnTo>
                  <a:pt x="818" y="120"/>
                </a:lnTo>
                <a:lnTo>
                  <a:pt x="810" y="117"/>
                </a:lnTo>
                <a:lnTo>
                  <a:pt x="802" y="113"/>
                </a:lnTo>
                <a:lnTo>
                  <a:pt x="796" y="107"/>
                </a:lnTo>
                <a:lnTo>
                  <a:pt x="790" y="101"/>
                </a:lnTo>
                <a:lnTo>
                  <a:pt x="786" y="94"/>
                </a:lnTo>
                <a:lnTo>
                  <a:pt x="783" y="85"/>
                </a:lnTo>
                <a:lnTo>
                  <a:pt x="783" y="76"/>
                </a:lnTo>
                <a:lnTo>
                  <a:pt x="783" y="67"/>
                </a:lnTo>
                <a:lnTo>
                  <a:pt x="786" y="58"/>
                </a:lnTo>
                <a:lnTo>
                  <a:pt x="790" y="51"/>
                </a:lnTo>
                <a:lnTo>
                  <a:pt x="796" y="44"/>
                </a:lnTo>
                <a:lnTo>
                  <a:pt x="802" y="39"/>
                </a:lnTo>
                <a:lnTo>
                  <a:pt x="810" y="35"/>
                </a:lnTo>
                <a:lnTo>
                  <a:pt x="818" y="31"/>
                </a:lnTo>
                <a:lnTo>
                  <a:pt x="828" y="30"/>
                </a:lnTo>
                <a:lnTo>
                  <a:pt x="828" y="30"/>
                </a:lnTo>
                <a:close/>
                <a:moveTo>
                  <a:pt x="572" y="828"/>
                </a:moveTo>
                <a:lnTo>
                  <a:pt x="570" y="838"/>
                </a:lnTo>
                <a:lnTo>
                  <a:pt x="568" y="846"/>
                </a:lnTo>
                <a:lnTo>
                  <a:pt x="564" y="854"/>
                </a:lnTo>
                <a:lnTo>
                  <a:pt x="559" y="860"/>
                </a:lnTo>
                <a:lnTo>
                  <a:pt x="551" y="866"/>
                </a:lnTo>
                <a:lnTo>
                  <a:pt x="544" y="870"/>
                </a:lnTo>
                <a:lnTo>
                  <a:pt x="535" y="873"/>
                </a:lnTo>
                <a:lnTo>
                  <a:pt x="526" y="873"/>
                </a:lnTo>
                <a:lnTo>
                  <a:pt x="517" y="873"/>
                </a:lnTo>
                <a:lnTo>
                  <a:pt x="509" y="870"/>
                </a:lnTo>
                <a:lnTo>
                  <a:pt x="501" y="866"/>
                </a:lnTo>
                <a:lnTo>
                  <a:pt x="494" y="860"/>
                </a:lnTo>
                <a:lnTo>
                  <a:pt x="489" y="854"/>
                </a:lnTo>
                <a:lnTo>
                  <a:pt x="485" y="846"/>
                </a:lnTo>
                <a:lnTo>
                  <a:pt x="482" y="838"/>
                </a:lnTo>
                <a:lnTo>
                  <a:pt x="481" y="828"/>
                </a:lnTo>
                <a:lnTo>
                  <a:pt x="482" y="819"/>
                </a:lnTo>
                <a:lnTo>
                  <a:pt x="485" y="811"/>
                </a:lnTo>
                <a:lnTo>
                  <a:pt x="489" y="803"/>
                </a:lnTo>
                <a:lnTo>
                  <a:pt x="494" y="796"/>
                </a:lnTo>
                <a:lnTo>
                  <a:pt x="501" y="791"/>
                </a:lnTo>
                <a:lnTo>
                  <a:pt x="509" y="786"/>
                </a:lnTo>
                <a:lnTo>
                  <a:pt x="517" y="784"/>
                </a:lnTo>
                <a:lnTo>
                  <a:pt x="526" y="783"/>
                </a:lnTo>
                <a:lnTo>
                  <a:pt x="535" y="784"/>
                </a:lnTo>
                <a:lnTo>
                  <a:pt x="544" y="787"/>
                </a:lnTo>
                <a:lnTo>
                  <a:pt x="551" y="791"/>
                </a:lnTo>
                <a:lnTo>
                  <a:pt x="559" y="797"/>
                </a:lnTo>
                <a:lnTo>
                  <a:pt x="564" y="803"/>
                </a:lnTo>
                <a:lnTo>
                  <a:pt x="568" y="811"/>
                </a:lnTo>
                <a:lnTo>
                  <a:pt x="570" y="819"/>
                </a:lnTo>
                <a:lnTo>
                  <a:pt x="572" y="828"/>
                </a:lnTo>
                <a:close/>
                <a:moveTo>
                  <a:pt x="75" y="257"/>
                </a:moveTo>
                <a:lnTo>
                  <a:pt x="65" y="255"/>
                </a:lnTo>
                <a:lnTo>
                  <a:pt x="58" y="253"/>
                </a:lnTo>
                <a:lnTo>
                  <a:pt x="49" y="249"/>
                </a:lnTo>
                <a:lnTo>
                  <a:pt x="43" y="244"/>
                </a:lnTo>
                <a:lnTo>
                  <a:pt x="37" y="236"/>
                </a:lnTo>
                <a:lnTo>
                  <a:pt x="33" y="229"/>
                </a:lnTo>
                <a:lnTo>
                  <a:pt x="31" y="220"/>
                </a:lnTo>
                <a:lnTo>
                  <a:pt x="30" y="211"/>
                </a:lnTo>
                <a:lnTo>
                  <a:pt x="31" y="202"/>
                </a:lnTo>
                <a:lnTo>
                  <a:pt x="33" y="193"/>
                </a:lnTo>
                <a:lnTo>
                  <a:pt x="37" y="186"/>
                </a:lnTo>
                <a:lnTo>
                  <a:pt x="43" y="179"/>
                </a:lnTo>
                <a:lnTo>
                  <a:pt x="49" y="174"/>
                </a:lnTo>
                <a:lnTo>
                  <a:pt x="58" y="170"/>
                </a:lnTo>
                <a:lnTo>
                  <a:pt x="65" y="168"/>
                </a:lnTo>
                <a:lnTo>
                  <a:pt x="75" y="166"/>
                </a:lnTo>
                <a:lnTo>
                  <a:pt x="84" y="168"/>
                </a:lnTo>
                <a:lnTo>
                  <a:pt x="92" y="170"/>
                </a:lnTo>
                <a:lnTo>
                  <a:pt x="100" y="174"/>
                </a:lnTo>
                <a:lnTo>
                  <a:pt x="107" y="179"/>
                </a:lnTo>
                <a:lnTo>
                  <a:pt x="112" y="186"/>
                </a:lnTo>
                <a:lnTo>
                  <a:pt x="117" y="193"/>
                </a:lnTo>
                <a:lnTo>
                  <a:pt x="119" y="202"/>
                </a:lnTo>
                <a:lnTo>
                  <a:pt x="120" y="211"/>
                </a:lnTo>
                <a:lnTo>
                  <a:pt x="119" y="220"/>
                </a:lnTo>
                <a:lnTo>
                  <a:pt x="117" y="229"/>
                </a:lnTo>
                <a:lnTo>
                  <a:pt x="112" y="236"/>
                </a:lnTo>
                <a:lnTo>
                  <a:pt x="107" y="244"/>
                </a:lnTo>
                <a:lnTo>
                  <a:pt x="100" y="249"/>
                </a:lnTo>
                <a:lnTo>
                  <a:pt x="92" y="253"/>
                </a:lnTo>
                <a:lnTo>
                  <a:pt x="84" y="255"/>
                </a:lnTo>
                <a:lnTo>
                  <a:pt x="75" y="257"/>
                </a:lnTo>
                <a:close/>
                <a:moveTo>
                  <a:pt x="828" y="467"/>
                </a:moveTo>
                <a:lnTo>
                  <a:pt x="818" y="468"/>
                </a:lnTo>
                <a:lnTo>
                  <a:pt x="810" y="469"/>
                </a:lnTo>
                <a:lnTo>
                  <a:pt x="801" y="472"/>
                </a:lnTo>
                <a:lnTo>
                  <a:pt x="794" y="475"/>
                </a:lnTo>
                <a:lnTo>
                  <a:pt x="786" y="480"/>
                </a:lnTo>
                <a:lnTo>
                  <a:pt x="780" y="485"/>
                </a:lnTo>
                <a:lnTo>
                  <a:pt x="773" y="490"/>
                </a:lnTo>
                <a:lnTo>
                  <a:pt x="768" y="498"/>
                </a:lnTo>
                <a:lnTo>
                  <a:pt x="667" y="450"/>
                </a:lnTo>
                <a:lnTo>
                  <a:pt x="671" y="436"/>
                </a:lnTo>
                <a:lnTo>
                  <a:pt x="674" y="422"/>
                </a:lnTo>
                <a:lnTo>
                  <a:pt x="677" y="407"/>
                </a:lnTo>
                <a:lnTo>
                  <a:pt x="677" y="392"/>
                </a:lnTo>
                <a:lnTo>
                  <a:pt x="677" y="377"/>
                </a:lnTo>
                <a:lnTo>
                  <a:pt x="674" y="363"/>
                </a:lnTo>
                <a:lnTo>
                  <a:pt x="671" y="349"/>
                </a:lnTo>
                <a:lnTo>
                  <a:pt x="667" y="335"/>
                </a:lnTo>
                <a:lnTo>
                  <a:pt x="662" y="322"/>
                </a:lnTo>
                <a:lnTo>
                  <a:pt x="654" y="309"/>
                </a:lnTo>
                <a:lnTo>
                  <a:pt x="647" y="297"/>
                </a:lnTo>
                <a:lnTo>
                  <a:pt x="638" y="285"/>
                </a:lnTo>
                <a:lnTo>
                  <a:pt x="786" y="139"/>
                </a:lnTo>
                <a:lnTo>
                  <a:pt x="796" y="144"/>
                </a:lnTo>
                <a:lnTo>
                  <a:pt x="805" y="148"/>
                </a:lnTo>
                <a:lnTo>
                  <a:pt x="816" y="150"/>
                </a:lnTo>
                <a:lnTo>
                  <a:pt x="828" y="151"/>
                </a:lnTo>
                <a:lnTo>
                  <a:pt x="835" y="150"/>
                </a:lnTo>
                <a:lnTo>
                  <a:pt x="843" y="149"/>
                </a:lnTo>
                <a:lnTo>
                  <a:pt x="849" y="148"/>
                </a:lnTo>
                <a:lnTo>
                  <a:pt x="857" y="145"/>
                </a:lnTo>
                <a:lnTo>
                  <a:pt x="863" y="142"/>
                </a:lnTo>
                <a:lnTo>
                  <a:pt x="870" y="139"/>
                </a:lnTo>
                <a:lnTo>
                  <a:pt x="875" y="134"/>
                </a:lnTo>
                <a:lnTo>
                  <a:pt x="880" y="129"/>
                </a:lnTo>
                <a:lnTo>
                  <a:pt x="886" y="124"/>
                </a:lnTo>
                <a:lnTo>
                  <a:pt x="890" y="118"/>
                </a:lnTo>
                <a:lnTo>
                  <a:pt x="893" y="112"/>
                </a:lnTo>
                <a:lnTo>
                  <a:pt x="896" y="105"/>
                </a:lnTo>
                <a:lnTo>
                  <a:pt x="900" y="98"/>
                </a:lnTo>
                <a:lnTo>
                  <a:pt x="901" y="91"/>
                </a:lnTo>
                <a:lnTo>
                  <a:pt x="902" y="84"/>
                </a:lnTo>
                <a:lnTo>
                  <a:pt x="903" y="76"/>
                </a:lnTo>
                <a:lnTo>
                  <a:pt x="902" y="68"/>
                </a:lnTo>
                <a:lnTo>
                  <a:pt x="901" y="60"/>
                </a:lnTo>
                <a:lnTo>
                  <a:pt x="900" y="54"/>
                </a:lnTo>
                <a:lnTo>
                  <a:pt x="896" y="46"/>
                </a:lnTo>
                <a:lnTo>
                  <a:pt x="893" y="40"/>
                </a:lnTo>
                <a:lnTo>
                  <a:pt x="890" y="33"/>
                </a:lnTo>
                <a:lnTo>
                  <a:pt x="886" y="28"/>
                </a:lnTo>
                <a:lnTo>
                  <a:pt x="880" y="23"/>
                </a:lnTo>
                <a:lnTo>
                  <a:pt x="875" y="17"/>
                </a:lnTo>
                <a:lnTo>
                  <a:pt x="870" y="13"/>
                </a:lnTo>
                <a:lnTo>
                  <a:pt x="863" y="10"/>
                </a:lnTo>
                <a:lnTo>
                  <a:pt x="857" y="7"/>
                </a:lnTo>
                <a:lnTo>
                  <a:pt x="849" y="5"/>
                </a:lnTo>
                <a:lnTo>
                  <a:pt x="843" y="2"/>
                </a:lnTo>
                <a:lnTo>
                  <a:pt x="835" y="1"/>
                </a:lnTo>
                <a:lnTo>
                  <a:pt x="828" y="0"/>
                </a:lnTo>
                <a:lnTo>
                  <a:pt x="819" y="1"/>
                </a:lnTo>
                <a:lnTo>
                  <a:pt x="812" y="2"/>
                </a:lnTo>
                <a:lnTo>
                  <a:pt x="805" y="5"/>
                </a:lnTo>
                <a:lnTo>
                  <a:pt x="798" y="7"/>
                </a:lnTo>
                <a:lnTo>
                  <a:pt x="791" y="10"/>
                </a:lnTo>
                <a:lnTo>
                  <a:pt x="785" y="13"/>
                </a:lnTo>
                <a:lnTo>
                  <a:pt x="780" y="17"/>
                </a:lnTo>
                <a:lnTo>
                  <a:pt x="774" y="23"/>
                </a:lnTo>
                <a:lnTo>
                  <a:pt x="769" y="28"/>
                </a:lnTo>
                <a:lnTo>
                  <a:pt x="765" y="33"/>
                </a:lnTo>
                <a:lnTo>
                  <a:pt x="761" y="40"/>
                </a:lnTo>
                <a:lnTo>
                  <a:pt x="758" y="46"/>
                </a:lnTo>
                <a:lnTo>
                  <a:pt x="756" y="54"/>
                </a:lnTo>
                <a:lnTo>
                  <a:pt x="754" y="60"/>
                </a:lnTo>
                <a:lnTo>
                  <a:pt x="753" y="68"/>
                </a:lnTo>
                <a:lnTo>
                  <a:pt x="752" y="76"/>
                </a:lnTo>
                <a:lnTo>
                  <a:pt x="753" y="87"/>
                </a:lnTo>
                <a:lnTo>
                  <a:pt x="756" y="98"/>
                </a:lnTo>
                <a:lnTo>
                  <a:pt x="759" y="107"/>
                </a:lnTo>
                <a:lnTo>
                  <a:pt x="765" y="117"/>
                </a:lnTo>
                <a:lnTo>
                  <a:pt x="618" y="265"/>
                </a:lnTo>
                <a:lnTo>
                  <a:pt x="606" y="257"/>
                </a:lnTo>
                <a:lnTo>
                  <a:pt x="594" y="249"/>
                </a:lnTo>
                <a:lnTo>
                  <a:pt x="581" y="243"/>
                </a:lnTo>
                <a:lnTo>
                  <a:pt x="568" y="236"/>
                </a:lnTo>
                <a:lnTo>
                  <a:pt x="554" y="232"/>
                </a:lnTo>
                <a:lnTo>
                  <a:pt x="540" y="229"/>
                </a:lnTo>
                <a:lnTo>
                  <a:pt x="526" y="228"/>
                </a:lnTo>
                <a:lnTo>
                  <a:pt x="511" y="226"/>
                </a:lnTo>
                <a:lnTo>
                  <a:pt x="500" y="226"/>
                </a:lnTo>
                <a:lnTo>
                  <a:pt x="488" y="228"/>
                </a:lnTo>
                <a:lnTo>
                  <a:pt x="476" y="230"/>
                </a:lnTo>
                <a:lnTo>
                  <a:pt x="465" y="233"/>
                </a:lnTo>
                <a:lnTo>
                  <a:pt x="455" y="236"/>
                </a:lnTo>
                <a:lnTo>
                  <a:pt x="444" y="240"/>
                </a:lnTo>
                <a:lnTo>
                  <a:pt x="434" y="246"/>
                </a:lnTo>
                <a:lnTo>
                  <a:pt x="425" y="251"/>
                </a:lnTo>
                <a:lnTo>
                  <a:pt x="415" y="258"/>
                </a:lnTo>
                <a:lnTo>
                  <a:pt x="406" y="264"/>
                </a:lnTo>
                <a:lnTo>
                  <a:pt x="399" y="272"/>
                </a:lnTo>
                <a:lnTo>
                  <a:pt x="390" y="279"/>
                </a:lnTo>
                <a:lnTo>
                  <a:pt x="383" y="288"/>
                </a:lnTo>
                <a:lnTo>
                  <a:pt x="376" y="296"/>
                </a:lnTo>
                <a:lnTo>
                  <a:pt x="370" y="306"/>
                </a:lnTo>
                <a:lnTo>
                  <a:pt x="365" y="315"/>
                </a:lnTo>
                <a:lnTo>
                  <a:pt x="149" y="225"/>
                </a:lnTo>
                <a:lnTo>
                  <a:pt x="150" y="219"/>
                </a:lnTo>
                <a:lnTo>
                  <a:pt x="150" y="211"/>
                </a:lnTo>
                <a:lnTo>
                  <a:pt x="150" y="204"/>
                </a:lnTo>
                <a:lnTo>
                  <a:pt x="149" y="196"/>
                </a:lnTo>
                <a:lnTo>
                  <a:pt x="147" y="189"/>
                </a:lnTo>
                <a:lnTo>
                  <a:pt x="145" y="183"/>
                </a:lnTo>
                <a:lnTo>
                  <a:pt x="141" y="175"/>
                </a:lnTo>
                <a:lnTo>
                  <a:pt x="137" y="170"/>
                </a:lnTo>
                <a:lnTo>
                  <a:pt x="133" y="163"/>
                </a:lnTo>
                <a:lnTo>
                  <a:pt x="127" y="158"/>
                </a:lnTo>
                <a:lnTo>
                  <a:pt x="122" y="154"/>
                </a:lnTo>
                <a:lnTo>
                  <a:pt x="117" y="149"/>
                </a:lnTo>
                <a:lnTo>
                  <a:pt x="110" y="145"/>
                </a:lnTo>
                <a:lnTo>
                  <a:pt x="104" y="142"/>
                </a:lnTo>
                <a:lnTo>
                  <a:pt x="97" y="140"/>
                </a:lnTo>
                <a:lnTo>
                  <a:pt x="90" y="137"/>
                </a:lnTo>
                <a:lnTo>
                  <a:pt x="82" y="136"/>
                </a:lnTo>
                <a:lnTo>
                  <a:pt x="75" y="136"/>
                </a:lnTo>
                <a:lnTo>
                  <a:pt x="67" y="136"/>
                </a:lnTo>
                <a:lnTo>
                  <a:pt x="60" y="137"/>
                </a:lnTo>
                <a:lnTo>
                  <a:pt x="52" y="140"/>
                </a:lnTo>
                <a:lnTo>
                  <a:pt x="46" y="142"/>
                </a:lnTo>
                <a:lnTo>
                  <a:pt x="38" y="145"/>
                </a:lnTo>
                <a:lnTo>
                  <a:pt x="33" y="149"/>
                </a:lnTo>
                <a:lnTo>
                  <a:pt x="27" y="154"/>
                </a:lnTo>
                <a:lnTo>
                  <a:pt x="21" y="158"/>
                </a:lnTo>
                <a:lnTo>
                  <a:pt x="17" y="163"/>
                </a:lnTo>
                <a:lnTo>
                  <a:pt x="13" y="170"/>
                </a:lnTo>
                <a:lnTo>
                  <a:pt x="8" y="175"/>
                </a:lnTo>
                <a:lnTo>
                  <a:pt x="5" y="183"/>
                </a:lnTo>
                <a:lnTo>
                  <a:pt x="3" y="189"/>
                </a:lnTo>
                <a:lnTo>
                  <a:pt x="1" y="196"/>
                </a:lnTo>
                <a:lnTo>
                  <a:pt x="0" y="204"/>
                </a:lnTo>
                <a:lnTo>
                  <a:pt x="0" y="211"/>
                </a:lnTo>
                <a:lnTo>
                  <a:pt x="0" y="219"/>
                </a:lnTo>
                <a:lnTo>
                  <a:pt x="1" y="226"/>
                </a:lnTo>
                <a:lnTo>
                  <a:pt x="3" y="234"/>
                </a:lnTo>
                <a:lnTo>
                  <a:pt x="5" y="240"/>
                </a:lnTo>
                <a:lnTo>
                  <a:pt x="8" y="247"/>
                </a:lnTo>
                <a:lnTo>
                  <a:pt x="13" y="253"/>
                </a:lnTo>
                <a:lnTo>
                  <a:pt x="17" y="259"/>
                </a:lnTo>
                <a:lnTo>
                  <a:pt x="21" y="264"/>
                </a:lnTo>
                <a:lnTo>
                  <a:pt x="27" y="269"/>
                </a:lnTo>
                <a:lnTo>
                  <a:pt x="33" y="274"/>
                </a:lnTo>
                <a:lnTo>
                  <a:pt x="38" y="278"/>
                </a:lnTo>
                <a:lnTo>
                  <a:pt x="46" y="281"/>
                </a:lnTo>
                <a:lnTo>
                  <a:pt x="52" y="283"/>
                </a:lnTo>
                <a:lnTo>
                  <a:pt x="60" y="285"/>
                </a:lnTo>
                <a:lnTo>
                  <a:pt x="67" y="287"/>
                </a:lnTo>
                <a:lnTo>
                  <a:pt x="75" y="287"/>
                </a:lnTo>
                <a:lnTo>
                  <a:pt x="85" y="285"/>
                </a:lnTo>
                <a:lnTo>
                  <a:pt x="93" y="284"/>
                </a:lnTo>
                <a:lnTo>
                  <a:pt x="103" y="281"/>
                </a:lnTo>
                <a:lnTo>
                  <a:pt x="110" y="278"/>
                </a:lnTo>
                <a:lnTo>
                  <a:pt x="118" y="273"/>
                </a:lnTo>
                <a:lnTo>
                  <a:pt x="125" y="267"/>
                </a:lnTo>
                <a:lnTo>
                  <a:pt x="132" y="261"/>
                </a:lnTo>
                <a:lnTo>
                  <a:pt x="137" y="253"/>
                </a:lnTo>
                <a:lnTo>
                  <a:pt x="353" y="342"/>
                </a:lnTo>
                <a:lnTo>
                  <a:pt x="350" y="354"/>
                </a:lnTo>
                <a:lnTo>
                  <a:pt x="347" y="367"/>
                </a:lnTo>
                <a:lnTo>
                  <a:pt x="346" y="379"/>
                </a:lnTo>
                <a:lnTo>
                  <a:pt x="345" y="392"/>
                </a:lnTo>
                <a:lnTo>
                  <a:pt x="346" y="407"/>
                </a:lnTo>
                <a:lnTo>
                  <a:pt x="348" y="422"/>
                </a:lnTo>
                <a:lnTo>
                  <a:pt x="352" y="436"/>
                </a:lnTo>
                <a:lnTo>
                  <a:pt x="356" y="450"/>
                </a:lnTo>
                <a:lnTo>
                  <a:pt x="361" y="462"/>
                </a:lnTo>
                <a:lnTo>
                  <a:pt x="368" y="474"/>
                </a:lnTo>
                <a:lnTo>
                  <a:pt x="375" y="487"/>
                </a:lnTo>
                <a:lnTo>
                  <a:pt x="384" y="498"/>
                </a:lnTo>
                <a:lnTo>
                  <a:pt x="116" y="766"/>
                </a:lnTo>
                <a:lnTo>
                  <a:pt x="107" y="761"/>
                </a:lnTo>
                <a:lnTo>
                  <a:pt x="96" y="756"/>
                </a:lnTo>
                <a:lnTo>
                  <a:pt x="86" y="754"/>
                </a:lnTo>
                <a:lnTo>
                  <a:pt x="75" y="753"/>
                </a:lnTo>
                <a:lnTo>
                  <a:pt x="67" y="753"/>
                </a:lnTo>
                <a:lnTo>
                  <a:pt x="60" y="755"/>
                </a:lnTo>
                <a:lnTo>
                  <a:pt x="52" y="756"/>
                </a:lnTo>
                <a:lnTo>
                  <a:pt x="46" y="759"/>
                </a:lnTo>
                <a:lnTo>
                  <a:pt x="38" y="763"/>
                </a:lnTo>
                <a:lnTo>
                  <a:pt x="33" y="766"/>
                </a:lnTo>
                <a:lnTo>
                  <a:pt x="27" y="770"/>
                </a:lnTo>
                <a:lnTo>
                  <a:pt x="21" y="776"/>
                </a:lnTo>
                <a:lnTo>
                  <a:pt x="17" y="781"/>
                </a:lnTo>
                <a:lnTo>
                  <a:pt x="13" y="786"/>
                </a:lnTo>
                <a:lnTo>
                  <a:pt x="8" y="793"/>
                </a:lnTo>
                <a:lnTo>
                  <a:pt x="5" y="799"/>
                </a:lnTo>
                <a:lnTo>
                  <a:pt x="3" y="806"/>
                </a:lnTo>
                <a:lnTo>
                  <a:pt x="1" y="813"/>
                </a:lnTo>
                <a:lnTo>
                  <a:pt x="0" y="821"/>
                </a:lnTo>
                <a:lnTo>
                  <a:pt x="0" y="828"/>
                </a:lnTo>
                <a:lnTo>
                  <a:pt x="0" y="836"/>
                </a:lnTo>
                <a:lnTo>
                  <a:pt x="1" y="843"/>
                </a:lnTo>
                <a:lnTo>
                  <a:pt x="3" y="851"/>
                </a:lnTo>
                <a:lnTo>
                  <a:pt x="5" y="858"/>
                </a:lnTo>
                <a:lnTo>
                  <a:pt x="8" y="865"/>
                </a:lnTo>
                <a:lnTo>
                  <a:pt x="13" y="870"/>
                </a:lnTo>
                <a:lnTo>
                  <a:pt x="17" y="876"/>
                </a:lnTo>
                <a:lnTo>
                  <a:pt x="21" y="882"/>
                </a:lnTo>
                <a:lnTo>
                  <a:pt x="27" y="886"/>
                </a:lnTo>
                <a:lnTo>
                  <a:pt x="33" y="890"/>
                </a:lnTo>
                <a:lnTo>
                  <a:pt x="38" y="895"/>
                </a:lnTo>
                <a:lnTo>
                  <a:pt x="46" y="898"/>
                </a:lnTo>
                <a:lnTo>
                  <a:pt x="52" y="900"/>
                </a:lnTo>
                <a:lnTo>
                  <a:pt x="60" y="902"/>
                </a:lnTo>
                <a:lnTo>
                  <a:pt x="67" y="903"/>
                </a:lnTo>
                <a:lnTo>
                  <a:pt x="75" y="903"/>
                </a:lnTo>
                <a:lnTo>
                  <a:pt x="82" y="903"/>
                </a:lnTo>
                <a:lnTo>
                  <a:pt x="90" y="902"/>
                </a:lnTo>
                <a:lnTo>
                  <a:pt x="97" y="900"/>
                </a:lnTo>
                <a:lnTo>
                  <a:pt x="104" y="898"/>
                </a:lnTo>
                <a:lnTo>
                  <a:pt x="110" y="895"/>
                </a:lnTo>
                <a:lnTo>
                  <a:pt x="117" y="890"/>
                </a:lnTo>
                <a:lnTo>
                  <a:pt x="122" y="886"/>
                </a:lnTo>
                <a:lnTo>
                  <a:pt x="127" y="882"/>
                </a:lnTo>
                <a:lnTo>
                  <a:pt x="133" y="876"/>
                </a:lnTo>
                <a:lnTo>
                  <a:pt x="137" y="870"/>
                </a:lnTo>
                <a:lnTo>
                  <a:pt x="141" y="865"/>
                </a:lnTo>
                <a:lnTo>
                  <a:pt x="145" y="858"/>
                </a:lnTo>
                <a:lnTo>
                  <a:pt x="147" y="851"/>
                </a:lnTo>
                <a:lnTo>
                  <a:pt x="149" y="843"/>
                </a:lnTo>
                <a:lnTo>
                  <a:pt x="150" y="836"/>
                </a:lnTo>
                <a:lnTo>
                  <a:pt x="150" y="828"/>
                </a:lnTo>
                <a:lnTo>
                  <a:pt x="149" y="817"/>
                </a:lnTo>
                <a:lnTo>
                  <a:pt x="147" y="807"/>
                </a:lnTo>
                <a:lnTo>
                  <a:pt x="143" y="796"/>
                </a:lnTo>
                <a:lnTo>
                  <a:pt x="137" y="787"/>
                </a:lnTo>
                <a:lnTo>
                  <a:pt x="405" y="519"/>
                </a:lnTo>
                <a:lnTo>
                  <a:pt x="417" y="528"/>
                </a:lnTo>
                <a:lnTo>
                  <a:pt x="429" y="535"/>
                </a:lnTo>
                <a:lnTo>
                  <a:pt x="441" y="542"/>
                </a:lnTo>
                <a:lnTo>
                  <a:pt x="454" y="547"/>
                </a:lnTo>
                <a:lnTo>
                  <a:pt x="467" y="551"/>
                </a:lnTo>
                <a:lnTo>
                  <a:pt x="481" y="555"/>
                </a:lnTo>
                <a:lnTo>
                  <a:pt x="496" y="557"/>
                </a:lnTo>
                <a:lnTo>
                  <a:pt x="511" y="558"/>
                </a:lnTo>
                <a:lnTo>
                  <a:pt x="511" y="754"/>
                </a:lnTo>
                <a:lnTo>
                  <a:pt x="505" y="756"/>
                </a:lnTo>
                <a:lnTo>
                  <a:pt x="499" y="758"/>
                </a:lnTo>
                <a:lnTo>
                  <a:pt x="493" y="761"/>
                </a:lnTo>
                <a:lnTo>
                  <a:pt x="488" y="764"/>
                </a:lnTo>
                <a:lnTo>
                  <a:pt x="477" y="771"/>
                </a:lnTo>
                <a:lnTo>
                  <a:pt x="469" y="781"/>
                </a:lnTo>
                <a:lnTo>
                  <a:pt x="464" y="785"/>
                </a:lnTo>
                <a:lnTo>
                  <a:pt x="461" y="791"/>
                </a:lnTo>
                <a:lnTo>
                  <a:pt x="458" y="797"/>
                </a:lnTo>
                <a:lnTo>
                  <a:pt x="456" y="802"/>
                </a:lnTo>
                <a:lnTo>
                  <a:pt x="454" y="809"/>
                </a:lnTo>
                <a:lnTo>
                  <a:pt x="452" y="815"/>
                </a:lnTo>
                <a:lnTo>
                  <a:pt x="451" y="822"/>
                </a:lnTo>
                <a:lnTo>
                  <a:pt x="451" y="828"/>
                </a:lnTo>
                <a:lnTo>
                  <a:pt x="451" y="836"/>
                </a:lnTo>
                <a:lnTo>
                  <a:pt x="452" y="843"/>
                </a:lnTo>
                <a:lnTo>
                  <a:pt x="455" y="851"/>
                </a:lnTo>
                <a:lnTo>
                  <a:pt x="457" y="858"/>
                </a:lnTo>
                <a:lnTo>
                  <a:pt x="460" y="865"/>
                </a:lnTo>
                <a:lnTo>
                  <a:pt x="464" y="870"/>
                </a:lnTo>
                <a:lnTo>
                  <a:pt x="469" y="876"/>
                </a:lnTo>
                <a:lnTo>
                  <a:pt x="473" y="882"/>
                </a:lnTo>
                <a:lnTo>
                  <a:pt x="478" y="886"/>
                </a:lnTo>
                <a:lnTo>
                  <a:pt x="485" y="890"/>
                </a:lnTo>
                <a:lnTo>
                  <a:pt x="490" y="895"/>
                </a:lnTo>
                <a:lnTo>
                  <a:pt x="498" y="898"/>
                </a:lnTo>
                <a:lnTo>
                  <a:pt x="504" y="900"/>
                </a:lnTo>
                <a:lnTo>
                  <a:pt x="511" y="902"/>
                </a:lnTo>
                <a:lnTo>
                  <a:pt x="519" y="903"/>
                </a:lnTo>
                <a:lnTo>
                  <a:pt x="526" y="903"/>
                </a:lnTo>
                <a:lnTo>
                  <a:pt x="534" y="903"/>
                </a:lnTo>
                <a:lnTo>
                  <a:pt x="541" y="902"/>
                </a:lnTo>
                <a:lnTo>
                  <a:pt x="549" y="900"/>
                </a:lnTo>
                <a:lnTo>
                  <a:pt x="555" y="898"/>
                </a:lnTo>
                <a:lnTo>
                  <a:pt x="562" y="895"/>
                </a:lnTo>
                <a:lnTo>
                  <a:pt x="568" y="890"/>
                </a:lnTo>
                <a:lnTo>
                  <a:pt x="575" y="886"/>
                </a:lnTo>
                <a:lnTo>
                  <a:pt x="580" y="882"/>
                </a:lnTo>
                <a:lnTo>
                  <a:pt x="584" y="876"/>
                </a:lnTo>
                <a:lnTo>
                  <a:pt x="589" y="870"/>
                </a:lnTo>
                <a:lnTo>
                  <a:pt x="593" y="865"/>
                </a:lnTo>
                <a:lnTo>
                  <a:pt x="596" y="858"/>
                </a:lnTo>
                <a:lnTo>
                  <a:pt x="598" y="851"/>
                </a:lnTo>
                <a:lnTo>
                  <a:pt x="600" y="843"/>
                </a:lnTo>
                <a:lnTo>
                  <a:pt x="602" y="836"/>
                </a:lnTo>
                <a:lnTo>
                  <a:pt x="602" y="828"/>
                </a:lnTo>
                <a:lnTo>
                  <a:pt x="602" y="822"/>
                </a:lnTo>
                <a:lnTo>
                  <a:pt x="600" y="815"/>
                </a:lnTo>
                <a:lnTo>
                  <a:pt x="599" y="809"/>
                </a:lnTo>
                <a:lnTo>
                  <a:pt x="597" y="802"/>
                </a:lnTo>
                <a:lnTo>
                  <a:pt x="595" y="797"/>
                </a:lnTo>
                <a:lnTo>
                  <a:pt x="592" y="791"/>
                </a:lnTo>
                <a:lnTo>
                  <a:pt x="589" y="785"/>
                </a:lnTo>
                <a:lnTo>
                  <a:pt x="584" y="781"/>
                </a:lnTo>
                <a:lnTo>
                  <a:pt x="576" y="771"/>
                </a:lnTo>
                <a:lnTo>
                  <a:pt x="565" y="764"/>
                </a:lnTo>
                <a:lnTo>
                  <a:pt x="560" y="761"/>
                </a:lnTo>
                <a:lnTo>
                  <a:pt x="554" y="758"/>
                </a:lnTo>
                <a:lnTo>
                  <a:pt x="548" y="756"/>
                </a:lnTo>
                <a:lnTo>
                  <a:pt x="541" y="755"/>
                </a:lnTo>
                <a:lnTo>
                  <a:pt x="541" y="555"/>
                </a:lnTo>
                <a:lnTo>
                  <a:pt x="559" y="550"/>
                </a:lnTo>
                <a:lnTo>
                  <a:pt x="576" y="544"/>
                </a:lnTo>
                <a:lnTo>
                  <a:pt x="592" y="536"/>
                </a:lnTo>
                <a:lnTo>
                  <a:pt x="606" y="527"/>
                </a:lnTo>
                <a:lnTo>
                  <a:pt x="620" y="516"/>
                </a:lnTo>
                <a:lnTo>
                  <a:pt x="633" y="504"/>
                </a:lnTo>
                <a:lnTo>
                  <a:pt x="643" y="490"/>
                </a:lnTo>
                <a:lnTo>
                  <a:pt x="653" y="476"/>
                </a:lnTo>
                <a:lnTo>
                  <a:pt x="755" y="525"/>
                </a:lnTo>
                <a:lnTo>
                  <a:pt x="753" y="533"/>
                </a:lnTo>
                <a:lnTo>
                  <a:pt x="752" y="543"/>
                </a:lnTo>
                <a:lnTo>
                  <a:pt x="753" y="550"/>
                </a:lnTo>
                <a:lnTo>
                  <a:pt x="754" y="558"/>
                </a:lnTo>
                <a:lnTo>
                  <a:pt x="756" y="564"/>
                </a:lnTo>
                <a:lnTo>
                  <a:pt x="758" y="572"/>
                </a:lnTo>
                <a:lnTo>
                  <a:pt x="761" y="578"/>
                </a:lnTo>
                <a:lnTo>
                  <a:pt x="765" y="585"/>
                </a:lnTo>
                <a:lnTo>
                  <a:pt x="769" y="590"/>
                </a:lnTo>
                <a:lnTo>
                  <a:pt x="774" y="595"/>
                </a:lnTo>
                <a:lnTo>
                  <a:pt x="780" y="601"/>
                </a:lnTo>
                <a:lnTo>
                  <a:pt x="785" y="605"/>
                </a:lnTo>
                <a:lnTo>
                  <a:pt x="791" y="608"/>
                </a:lnTo>
                <a:lnTo>
                  <a:pt x="798" y="611"/>
                </a:lnTo>
                <a:lnTo>
                  <a:pt x="805" y="615"/>
                </a:lnTo>
                <a:lnTo>
                  <a:pt x="812" y="616"/>
                </a:lnTo>
                <a:lnTo>
                  <a:pt x="819" y="617"/>
                </a:lnTo>
                <a:lnTo>
                  <a:pt x="828" y="618"/>
                </a:lnTo>
                <a:lnTo>
                  <a:pt x="835" y="617"/>
                </a:lnTo>
                <a:lnTo>
                  <a:pt x="843" y="616"/>
                </a:lnTo>
                <a:lnTo>
                  <a:pt x="849" y="615"/>
                </a:lnTo>
                <a:lnTo>
                  <a:pt x="857" y="611"/>
                </a:lnTo>
                <a:lnTo>
                  <a:pt x="863" y="608"/>
                </a:lnTo>
                <a:lnTo>
                  <a:pt x="870" y="605"/>
                </a:lnTo>
                <a:lnTo>
                  <a:pt x="875" y="601"/>
                </a:lnTo>
                <a:lnTo>
                  <a:pt x="880" y="595"/>
                </a:lnTo>
                <a:lnTo>
                  <a:pt x="886" y="590"/>
                </a:lnTo>
                <a:lnTo>
                  <a:pt x="890" y="585"/>
                </a:lnTo>
                <a:lnTo>
                  <a:pt x="893" y="578"/>
                </a:lnTo>
                <a:lnTo>
                  <a:pt x="896" y="572"/>
                </a:lnTo>
                <a:lnTo>
                  <a:pt x="900" y="564"/>
                </a:lnTo>
                <a:lnTo>
                  <a:pt x="901" y="558"/>
                </a:lnTo>
                <a:lnTo>
                  <a:pt x="902" y="550"/>
                </a:lnTo>
                <a:lnTo>
                  <a:pt x="903" y="543"/>
                </a:lnTo>
                <a:lnTo>
                  <a:pt x="902" y="534"/>
                </a:lnTo>
                <a:lnTo>
                  <a:pt x="901" y="528"/>
                </a:lnTo>
                <a:lnTo>
                  <a:pt x="900" y="520"/>
                </a:lnTo>
                <a:lnTo>
                  <a:pt x="896" y="513"/>
                </a:lnTo>
                <a:lnTo>
                  <a:pt x="893" y="506"/>
                </a:lnTo>
                <a:lnTo>
                  <a:pt x="890" y="500"/>
                </a:lnTo>
                <a:lnTo>
                  <a:pt x="886" y="495"/>
                </a:lnTo>
                <a:lnTo>
                  <a:pt x="880" y="489"/>
                </a:lnTo>
                <a:lnTo>
                  <a:pt x="875" y="484"/>
                </a:lnTo>
                <a:lnTo>
                  <a:pt x="870" y="480"/>
                </a:lnTo>
                <a:lnTo>
                  <a:pt x="863" y="476"/>
                </a:lnTo>
                <a:lnTo>
                  <a:pt x="857" y="473"/>
                </a:lnTo>
                <a:lnTo>
                  <a:pt x="849" y="471"/>
                </a:lnTo>
                <a:lnTo>
                  <a:pt x="843" y="469"/>
                </a:lnTo>
                <a:lnTo>
                  <a:pt x="835" y="468"/>
                </a:lnTo>
                <a:lnTo>
                  <a:pt x="828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972809" y="2466074"/>
            <a:ext cx="595682" cy="592334"/>
            <a:chOff x="5468938" y="1920875"/>
            <a:chExt cx="282575" cy="28098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2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90"/>
            <p:cNvSpPr/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1"/>
            <p:cNvSpPr/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7" name="Freeform 332"/>
          <p:cNvSpPr>
            <a:spLocks noEditPoints="1"/>
          </p:cNvSpPr>
          <p:nvPr/>
        </p:nvSpPr>
        <p:spPr bwMode="auto">
          <a:xfrm>
            <a:off x="4986125" y="2470803"/>
            <a:ext cx="2219750" cy="2219742"/>
          </a:xfrm>
          <a:custGeom>
            <a:avLst/>
            <a:gdLst>
              <a:gd name="T0" fmla="*/ 581 w 903"/>
              <a:gd name="T1" fmla="*/ 737 h 903"/>
              <a:gd name="T2" fmla="*/ 739 w 903"/>
              <a:gd name="T3" fmla="*/ 758 h 903"/>
              <a:gd name="T4" fmla="*/ 610 w 903"/>
              <a:gd name="T5" fmla="*/ 841 h 903"/>
              <a:gd name="T6" fmla="*/ 441 w 903"/>
              <a:gd name="T7" fmla="*/ 872 h 903"/>
              <a:gd name="T8" fmla="*/ 344 w 903"/>
              <a:gd name="T9" fmla="*/ 714 h 903"/>
              <a:gd name="T10" fmla="*/ 508 w 903"/>
              <a:gd name="T11" fmla="*/ 804 h 903"/>
              <a:gd name="T12" fmla="*/ 441 w 903"/>
              <a:gd name="T13" fmla="*/ 872 h 903"/>
              <a:gd name="T14" fmla="*/ 345 w 903"/>
              <a:gd name="T15" fmla="*/ 781 h 903"/>
              <a:gd name="T16" fmla="*/ 336 w 903"/>
              <a:gd name="T17" fmla="*/ 856 h 903"/>
              <a:gd name="T18" fmla="*/ 198 w 903"/>
              <a:gd name="T19" fmla="*/ 787 h 903"/>
              <a:gd name="T20" fmla="*/ 108 w 903"/>
              <a:gd name="T21" fmla="*/ 692 h 903"/>
              <a:gd name="T22" fmla="*/ 250 w 903"/>
              <a:gd name="T23" fmla="*/ 383 h 903"/>
              <a:gd name="T24" fmla="*/ 31 w 903"/>
              <a:gd name="T25" fmla="*/ 419 h 903"/>
              <a:gd name="T26" fmla="*/ 66 w 903"/>
              <a:gd name="T27" fmla="*/ 270 h 903"/>
              <a:gd name="T28" fmla="*/ 313 w 903"/>
              <a:gd name="T29" fmla="*/ 160 h 903"/>
              <a:gd name="T30" fmla="*/ 122 w 903"/>
              <a:gd name="T31" fmla="*/ 181 h 903"/>
              <a:gd name="T32" fmla="*/ 253 w 903"/>
              <a:gd name="T33" fmla="*/ 76 h 903"/>
              <a:gd name="T34" fmla="*/ 463 w 903"/>
              <a:gd name="T35" fmla="*/ 30 h 903"/>
              <a:gd name="T36" fmla="*/ 582 w 903"/>
              <a:gd name="T37" fmla="*/ 213 h 903"/>
              <a:gd name="T38" fmla="*/ 380 w 903"/>
              <a:gd name="T39" fmla="*/ 106 h 903"/>
              <a:gd name="T40" fmla="*/ 463 w 903"/>
              <a:gd name="T41" fmla="*/ 30 h 903"/>
              <a:gd name="T42" fmla="*/ 561 w 903"/>
              <a:gd name="T43" fmla="*/ 108 h 903"/>
              <a:gd name="T44" fmla="*/ 602 w 903"/>
              <a:gd name="T45" fmla="*/ 58 h 903"/>
              <a:gd name="T46" fmla="*/ 743 w 903"/>
              <a:gd name="T47" fmla="*/ 147 h 903"/>
              <a:gd name="T48" fmla="*/ 872 w 903"/>
              <a:gd name="T49" fmla="*/ 482 h 903"/>
              <a:gd name="T50" fmla="*/ 827 w 903"/>
              <a:gd name="T51" fmla="*/ 641 h 903"/>
              <a:gd name="T52" fmla="*/ 643 w 903"/>
              <a:gd name="T53" fmla="*/ 549 h 903"/>
              <a:gd name="T54" fmla="*/ 616 w 903"/>
              <a:gd name="T55" fmla="*/ 315 h 903"/>
              <a:gd name="T56" fmla="*/ 277 w 903"/>
              <a:gd name="T57" fmla="*/ 451 h 903"/>
              <a:gd name="T58" fmla="*/ 293 w 903"/>
              <a:gd name="T59" fmla="*/ 293 h 903"/>
              <a:gd name="T60" fmla="*/ 614 w 903"/>
              <a:gd name="T61" fmla="*/ 549 h 903"/>
              <a:gd name="T62" fmla="*/ 313 w 903"/>
              <a:gd name="T63" fmla="*/ 639 h 903"/>
              <a:gd name="T64" fmla="*/ 279 w 903"/>
              <a:gd name="T65" fmla="*/ 482 h 903"/>
              <a:gd name="T66" fmla="*/ 269 w 903"/>
              <a:gd name="T67" fmla="*/ 594 h 903"/>
              <a:gd name="T68" fmla="*/ 59 w 903"/>
              <a:gd name="T69" fmla="*/ 598 h 903"/>
              <a:gd name="T70" fmla="*/ 655 w 903"/>
              <a:gd name="T71" fmla="*/ 451 h 903"/>
              <a:gd name="T72" fmla="*/ 639 w 903"/>
              <a:gd name="T73" fmla="*/ 293 h 903"/>
              <a:gd name="T74" fmla="*/ 867 w 903"/>
              <a:gd name="T75" fmla="*/ 380 h 903"/>
              <a:gd name="T76" fmla="*/ 451 w 903"/>
              <a:gd name="T77" fmla="*/ 0 h 903"/>
              <a:gd name="T78" fmla="*/ 322 w 903"/>
              <a:gd name="T79" fmla="*/ 17 h 903"/>
              <a:gd name="T80" fmla="*/ 187 w 903"/>
              <a:gd name="T81" fmla="*/ 80 h 903"/>
              <a:gd name="T82" fmla="*/ 84 w 903"/>
              <a:gd name="T83" fmla="*/ 181 h 903"/>
              <a:gd name="T84" fmla="*/ 18 w 903"/>
              <a:gd name="T85" fmla="*/ 312 h 903"/>
              <a:gd name="T86" fmla="*/ 0 w 903"/>
              <a:gd name="T87" fmla="*/ 465 h 903"/>
              <a:gd name="T88" fmla="*/ 35 w 903"/>
              <a:gd name="T89" fmla="*/ 621 h 903"/>
              <a:gd name="T90" fmla="*/ 117 w 903"/>
              <a:gd name="T91" fmla="*/ 752 h 903"/>
              <a:gd name="T92" fmla="*/ 236 w 903"/>
              <a:gd name="T93" fmla="*/ 847 h 903"/>
              <a:gd name="T94" fmla="*/ 382 w 903"/>
              <a:gd name="T95" fmla="*/ 898 h 903"/>
              <a:gd name="T96" fmla="*/ 542 w 903"/>
              <a:gd name="T97" fmla="*/ 894 h 903"/>
              <a:gd name="T98" fmla="*/ 685 w 903"/>
              <a:gd name="T99" fmla="*/ 838 h 903"/>
              <a:gd name="T100" fmla="*/ 799 w 903"/>
              <a:gd name="T101" fmla="*/ 738 h 903"/>
              <a:gd name="T102" fmla="*/ 875 w 903"/>
              <a:gd name="T103" fmla="*/ 605 h 903"/>
              <a:gd name="T104" fmla="*/ 903 w 903"/>
              <a:gd name="T105" fmla="*/ 449 h 903"/>
              <a:gd name="T106" fmla="*/ 875 w 903"/>
              <a:gd name="T107" fmla="*/ 295 h 903"/>
              <a:gd name="T108" fmla="*/ 800 w 903"/>
              <a:gd name="T109" fmla="*/ 163 h 903"/>
              <a:gd name="T110" fmla="*/ 685 w 903"/>
              <a:gd name="T111" fmla="*/ 65 h 903"/>
              <a:gd name="T112" fmla="*/ 543 w 903"/>
              <a:gd name="T113" fmla="*/ 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903">
                <a:moveTo>
                  <a:pt x="502" y="870"/>
                </a:moveTo>
                <a:lnTo>
                  <a:pt x="517" y="847"/>
                </a:lnTo>
                <a:lnTo>
                  <a:pt x="532" y="826"/>
                </a:lnTo>
                <a:lnTo>
                  <a:pt x="545" y="803"/>
                </a:lnTo>
                <a:lnTo>
                  <a:pt x="558" y="781"/>
                </a:lnTo>
                <a:lnTo>
                  <a:pt x="569" y="759"/>
                </a:lnTo>
                <a:lnTo>
                  <a:pt x="581" y="737"/>
                </a:lnTo>
                <a:lnTo>
                  <a:pt x="591" y="714"/>
                </a:lnTo>
                <a:lnTo>
                  <a:pt x="601" y="692"/>
                </a:lnTo>
                <a:lnTo>
                  <a:pt x="796" y="692"/>
                </a:lnTo>
                <a:lnTo>
                  <a:pt x="783" y="710"/>
                </a:lnTo>
                <a:lnTo>
                  <a:pt x="769" y="726"/>
                </a:lnTo>
                <a:lnTo>
                  <a:pt x="755" y="742"/>
                </a:lnTo>
                <a:lnTo>
                  <a:pt x="739" y="758"/>
                </a:lnTo>
                <a:lnTo>
                  <a:pt x="723" y="772"/>
                </a:lnTo>
                <a:lnTo>
                  <a:pt x="706" y="786"/>
                </a:lnTo>
                <a:lnTo>
                  <a:pt x="689" y="799"/>
                </a:lnTo>
                <a:lnTo>
                  <a:pt x="669" y="811"/>
                </a:lnTo>
                <a:lnTo>
                  <a:pt x="651" y="822"/>
                </a:lnTo>
                <a:lnTo>
                  <a:pt x="631" y="832"/>
                </a:lnTo>
                <a:lnTo>
                  <a:pt x="610" y="841"/>
                </a:lnTo>
                <a:lnTo>
                  <a:pt x="590" y="848"/>
                </a:lnTo>
                <a:lnTo>
                  <a:pt x="568" y="856"/>
                </a:lnTo>
                <a:lnTo>
                  <a:pt x="547" y="861"/>
                </a:lnTo>
                <a:lnTo>
                  <a:pt x="524" y="866"/>
                </a:lnTo>
                <a:lnTo>
                  <a:pt x="502" y="870"/>
                </a:lnTo>
                <a:lnTo>
                  <a:pt x="502" y="870"/>
                </a:lnTo>
                <a:close/>
                <a:moveTo>
                  <a:pt x="441" y="872"/>
                </a:moveTo>
                <a:lnTo>
                  <a:pt x="425" y="850"/>
                </a:lnTo>
                <a:lnTo>
                  <a:pt x="409" y="827"/>
                </a:lnTo>
                <a:lnTo>
                  <a:pt x="395" y="804"/>
                </a:lnTo>
                <a:lnTo>
                  <a:pt x="381" y="782"/>
                </a:lnTo>
                <a:lnTo>
                  <a:pt x="368" y="759"/>
                </a:lnTo>
                <a:lnTo>
                  <a:pt x="356" y="737"/>
                </a:lnTo>
                <a:lnTo>
                  <a:pt x="344" y="714"/>
                </a:lnTo>
                <a:lnTo>
                  <a:pt x="335" y="692"/>
                </a:lnTo>
                <a:lnTo>
                  <a:pt x="568" y="692"/>
                </a:lnTo>
                <a:lnTo>
                  <a:pt x="559" y="714"/>
                </a:lnTo>
                <a:lnTo>
                  <a:pt x="547" y="737"/>
                </a:lnTo>
                <a:lnTo>
                  <a:pt x="535" y="759"/>
                </a:lnTo>
                <a:lnTo>
                  <a:pt x="522" y="782"/>
                </a:lnTo>
                <a:lnTo>
                  <a:pt x="508" y="804"/>
                </a:lnTo>
                <a:lnTo>
                  <a:pt x="494" y="827"/>
                </a:lnTo>
                <a:lnTo>
                  <a:pt x="479" y="850"/>
                </a:lnTo>
                <a:lnTo>
                  <a:pt x="463" y="872"/>
                </a:lnTo>
                <a:lnTo>
                  <a:pt x="457" y="873"/>
                </a:lnTo>
                <a:lnTo>
                  <a:pt x="450" y="873"/>
                </a:lnTo>
                <a:lnTo>
                  <a:pt x="445" y="873"/>
                </a:lnTo>
                <a:lnTo>
                  <a:pt x="441" y="872"/>
                </a:lnTo>
                <a:lnTo>
                  <a:pt x="441" y="872"/>
                </a:lnTo>
                <a:close/>
                <a:moveTo>
                  <a:pt x="108" y="692"/>
                </a:moveTo>
                <a:lnTo>
                  <a:pt x="302" y="692"/>
                </a:lnTo>
                <a:lnTo>
                  <a:pt x="312" y="714"/>
                </a:lnTo>
                <a:lnTo>
                  <a:pt x="323" y="737"/>
                </a:lnTo>
                <a:lnTo>
                  <a:pt x="334" y="759"/>
                </a:lnTo>
                <a:lnTo>
                  <a:pt x="345" y="781"/>
                </a:lnTo>
                <a:lnTo>
                  <a:pt x="358" y="803"/>
                </a:lnTo>
                <a:lnTo>
                  <a:pt x="372" y="826"/>
                </a:lnTo>
                <a:lnTo>
                  <a:pt x="386" y="847"/>
                </a:lnTo>
                <a:lnTo>
                  <a:pt x="401" y="870"/>
                </a:lnTo>
                <a:lnTo>
                  <a:pt x="379" y="867"/>
                </a:lnTo>
                <a:lnTo>
                  <a:pt x="357" y="862"/>
                </a:lnTo>
                <a:lnTo>
                  <a:pt x="336" y="856"/>
                </a:lnTo>
                <a:lnTo>
                  <a:pt x="314" y="850"/>
                </a:lnTo>
                <a:lnTo>
                  <a:pt x="294" y="842"/>
                </a:lnTo>
                <a:lnTo>
                  <a:pt x="273" y="832"/>
                </a:lnTo>
                <a:lnTo>
                  <a:pt x="254" y="823"/>
                </a:lnTo>
                <a:lnTo>
                  <a:pt x="235" y="812"/>
                </a:lnTo>
                <a:lnTo>
                  <a:pt x="217" y="800"/>
                </a:lnTo>
                <a:lnTo>
                  <a:pt x="198" y="787"/>
                </a:lnTo>
                <a:lnTo>
                  <a:pt x="182" y="773"/>
                </a:lnTo>
                <a:lnTo>
                  <a:pt x="165" y="758"/>
                </a:lnTo>
                <a:lnTo>
                  <a:pt x="150" y="743"/>
                </a:lnTo>
                <a:lnTo>
                  <a:pt x="135" y="727"/>
                </a:lnTo>
                <a:lnTo>
                  <a:pt x="121" y="710"/>
                </a:lnTo>
                <a:lnTo>
                  <a:pt x="108" y="692"/>
                </a:lnTo>
                <a:lnTo>
                  <a:pt x="108" y="692"/>
                </a:lnTo>
                <a:close/>
                <a:moveTo>
                  <a:pt x="66" y="270"/>
                </a:moveTo>
                <a:lnTo>
                  <a:pt x="270" y="270"/>
                </a:lnTo>
                <a:lnTo>
                  <a:pt x="264" y="293"/>
                </a:lnTo>
                <a:lnTo>
                  <a:pt x="260" y="315"/>
                </a:lnTo>
                <a:lnTo>
                  <a:pt x="255" y="337"/>
                </a:lnTo>
                <a:lnTo>
                  <a:pt x="252" y="359"/>
                </a:lnTo>
                <a:lnTo>
                  <a:pt x="250" y="383"/>
                </a:lnTo>
                <a:lnTo>
                  <a:pt x="249" y="405"/>
                </a:lnTo>
                <a:lnTo>
                  <a:pt x="248" y="428"/>
                </a:lnTo>
                <a:lnTo>
                  <a:pt x="248" y="451"/>
                </a:lnTo>
                <a:lnTo>
                  <a:pt x="30" y="451"/>
                </a:lnTo>
                <a:lnTo>
                  <a:pt x="30" y="446"/>
                </a:lnTo>
                <a:lnTo>
                  <a:pt x="30" y="442"/>
                </a:lnTo>
                <a:lnTo>
                  <a:pt x="31" y="419"/>
                </a:lnTo>
                <a:lnTo>
                  <a:pt x="32" y="397"/>
                </a:lnTo>
                <a:lnTo>
                  <a:pt x="35" y="374"/>
                </a:lnTo>
                <a:lnTo>
                  <a:pt x="40" y="353"/>
                </a:lnTo>
                <a:lnTo>
                  <a:pt x="45" y="331"/>
                </a:lnTo>
                <a:lnTo>
                  <a:pt x="50" y="311"/>
                </a:lnTo>
                <a:lnTo>
                  <a:pt x="58" y="291"/>
                </a:lnTo>
                <a:lnTo>
                  <a:pt x="66" y="270"/>
                </a:lnTo>
                <a:lnTo>
                  <a:pt x="66" y="270"/>
                </a:lnTo>
                <a:close/>
                <a:moveTo>
                  <a:pt x="397" y="33"/>
                </a:moveTo>
                <a:lnTo>
                  <a:pt x="377" y="58"/>
                </a:lnTo>
                <a:lnTo>
                  <a:pt x="359" y="82"/>
                </a:lnTo>
                <a:lnTo>
                  <a:pt x="342" y="108"/>
                </a:lnTo>
                <a:lnTo>
                  <a:pt x="327" y="134"/>
                </a:lnTo>
                <a:lnTo>
                  <a:pt x="313" y="160"/>
                </a:lnTo>
                <a:lnTo>
                  <a:pt x="300" y="186"/>
                </a:lnTo>
                <a:lnTo>
                  <a:pt x="288" y="213"/>
                </a:lnTo>
                <a:lnTo>
                  <a:pt x="279" y="240"/>
                </a:lnTo>
                <a:lnTo>
                  <a:pt x="81" y="240"/>
                </a:lnTo>
                <a:lnTo>
                  <a:pt x="94" y="220"/>
                </a:lnTo>
                <a:lnTo>
                  <a:pt x="107" y="200"/>
                </a:lnTo>
                <a:lnTo>
                  <a:pt x="122" y="181"/>
                </a:lnTo>
                <a:lnTo>
                  <a:pt x="137" y="163"/>
                </a:lnTo>
                <a:lnTo>
                  <a:pt x="154" y="146"/>
                </a:lnTo>
                <a:lnTo>
                  <a:pt x="173" y="130"/>
                </a:lnTo>
                <a:lnTo>
                  <a:pt x="191" y="115"/>
                </a:lnTo>
                <a:lnTo>
                  <a:pt x="211" y="101"/>
                </a:lnTo>
                <a:lnTo>
                  <a:pt x="232" y="88"/>
                </a:lnTo>
                <a:lnTo>
                  <a:pt x="253" y="76"/>
                </a:lnTo>
                <a:lnTo>
                  <a:pt x="275" y="66"/>
                </a:lnTo>
                <a:lnTo>
                  <a:pt x="298" y="57"/>
                </a:lnTo>
                <a:lnTo>
                  <a:pt x="322" y="49"/>
                </a:lnTo>
                <a:lnTo>
                  <a:pt x="346" y="42"/>
                </a:lnTo>
                <a:lnTo>
                  <a:pt x="371" y="36"/>
                </a:lnTo>
                <a:lnTo>
                  <a:pt x="397" y="33"/>
                </a:lnTo>
                <a:close/>
                <a:moveTo>
                  <a:pt x="463" y="30"/>
                </a:moveTo>
                <a:lnTo>
                  <a:pt x="486" y="55"/>
                </a:lnTo>
                <a:lnTo>
                  <a:pt x="505" y="80"/>
                </a:lnTo>
                <a:lnTo>
                  <a:pt x="524" y="106"/>
                </a:lnTo>
                <a:lnTo>
                  <a:pt x="540" y="132"/>
                </a:lnTo>
                <a:lnTo>
                  <a:pt x="557" y="159"/>
                </a:lnTo>
                <a:lnTo>
                  <a:pt x="571" y="185"/>
                </a:lnTo>
                <a:lnTo>
                  <a:pt x="582" y="213"/>
                </a:lnTo>
                <a:lnTo>
                  <a:pt x="594" y="240"/>
                </a:lnTo>
                <a:lnTo>
                  <a:pt x="310" y="240"/>
                </a:lnTo>
                <a:lnTo>
                  <a:pt x="321" y="212"/>
                </a:lnTo>
                <a:lnTo>
                  <a:pt x="332" y="185"/>
                </a:lnTo>
                <a:lnTo>
                  <a:pt x="346" y="159"/>
                </a:lnTo>
                <a:lnTo>
                  <a:pt x="362" y="132"/>
                </a:lnTo>
                <a:lnTo>
                  <a:pt x="380" y="106"/>
                </a:lnTo>
                <a:lnTo>
                  <a:pt x="398" y="80"/>
                </a:lnTo>
                <a:lnTo>
                  <a:pt x="418" y="55"/>
                </a:lnTo>
                <a:lnTo>
                  <a:pt x="440" y="30"/>
                </a:lnTo>
                <a:lnTo>
                  <a:pt x="445" y="30"/>
                </a:lnTo>
                <a:lnTo>
                  <a:pt x="451" y="30"/>
                </a:lnTo>
                <a:lnTo>
                  <a:pt x="458" y="30"/>
                </a:lnTo>
                <a:lnTo>
                  <a:pt x="463" y="30"/>
                </a:lnTo>
                <a:close/>
                <a:moveTo>
                  <a:pt x="817" y="240"/>
                </a:moveTo>
                <a:lnTo>
                  <a:pt x="624" y="240"/>
                </a:lnTo>
                <a:lnTo>
                  <a:pt x="614" y="213"/>
                </a:lnTo>
                <a:lnTo>
                  <a:pt x="603" y="186"/>
                </a:lnTo>
                <a:lnTo>
                  <a:pt x="591" y="160"/>
                </a:lnTo>
                <a:lnTo>
                  <a:pt x="576" y="134"/>
                </a:lnTo>
                <a:lnTo>
                  <a:pt x="561" y="108"/>
                </a:lnTo>
                <a:lnTo>
                  <a:pt x="544" y="82"/>
                </a:lnTo>
                <a:lnTo>
                  <a:pt x="527" y="58"/>
                </a:lnTo>
                <a:lnTo>
                  <a:pt x="506" y="33"/>
                </a:lnTo>
                <a:lnTo>
                  <a:pt x="531" y="37"/>
                </a:lnTo>
                <a:lnTo>
                  <a:pt x="556" y="43"/>
                </a:lnTo>
                <a:lnTo>
                  <a:pt x="579" y="49"/>
                </a:lnTo>
                <a:lnTo>
                  <a:pt x="602" y="58"/>
                </a:lnTo>
                <a:lnTo>
                  <a:pt x="624" y="66"/>
                </a:lnTo>
                <a:lnTo>
                  <a:pt x="646" y="77"/>
                </a:lnTo>
                <a:lnTo>
                  <a:pt x="667" y="89"/>
                </a:lnTo>
                <a:lnTo>
                  <a:pt x="687" y="102"/>
                </a:lnTo>
                <a:lnTo>
                  <a:pt x="707" y="116"/>
                </a:lnTo>
                <a:lnTo>
                  <a:pt x="725" y="131"/>
                </a:lnTo>
                <a:lnTo>
                  <a:pt x="743" y="147"/>
                </a:lnTo>
                <a:lnTo>
                  <a:pt x="759" y="164"/>
                </a:lnTo>
                <a:lnTo>
                  <a:pt x="775" y="181"/>
                </a:lnTo>
                <a:lnTo>
                  <a:pt x="790" y="200"/>
                </a:lnTo>
                <a:lnTo>
                  <a:pt x="804" y="220"/>
                </a:lnTo>
                <a:lnTo>
                  <a:pt x="817" y="240"/>
                </a:lnTo>
                <a:close/>
                <a:moveTo>
                  <a:pt x="653" y="482"/>
                </a:moveTo>
                <a:lnTo>
                  <a:pt x="872" y="482"/>
                </a:lnTo>
                <a:lnTo>
                  <a:pt x="869" y="506"/>
                </a:lnTo>
                <a:lnTo>
                  <a:pt x="865" y="530"/>
                </a:lnTo>
                <a:lnTo>
                  <a:pt x="860" y="553"/>
                </a:lnTo>
                <a:lnTo>
                  <a:pt x="854" y="576"/>
                </a:lnTo>
                <a:lnTo>
                  <a:pt x="846" y="598"/>
                </a:lnTo>
                <a:lnTo>
                  <a:pt x="837" y="620"/>
                </a:lnTo>
                <a:lnTo>
                  <a:pt x="827" y="641"/>
                </a:lnTo>
                <a:lnTo>
                  <a:pt x="815" y="662"/>
                </a:lnTo>
                <a:lnTo>
                  <a:pt x="612" y="662"/>
                </a:lnTo>
                <a:lnTo>
                  <a:pt x="620" y="639"/>
                </a:lnTo>
                <a:lnTo>
                  <a:pt x="627" y="617"/>
                </a:lnTo>
                <a:lnTo>
                  <a:pt x="634" y="594"/>
                </a:lnTo>
                <a:lnTo>
                  <a:pt x="639" y="572"/>
                </a:lnTo>
                <a:lnTo>
                  <a:pt x="643" y="549"/>
                </a:lnTo>
                <a:lnTo>
                  <a:pt x="648" y="527"/>
                </a:lnTo>
                <a:lnTo>
                  <a:pt x="651" y="504"/>
                </a:lnTo>
                <a:lnTo>
                  <a:pt x="653" y="482"/>
                </a:lnTo>
                <a:close/>
                <a:moveTo>
                  <a:pt x="299" y="270"/>
                </a:moveTo>
                <a:lnTo>
                  <a:pt x="604" y="270"/>
                </a:lnTo>
                <a:lnTo>
                  <a:pt x="610" y="293"/>
                </a:lnTo>
                <a:lnTo>
                  <a:pt x="616" y="315"/>
                </a:lnTo>
                <a:lnTo>
                  <a:pt x="620" y="337"/>
                </a:lnTo>
                <a:lnTo>
                  <a:pt x="623" y="359"/>
                </a:lnTo>
                <a:lnTo>
                  <a:pt x="625" y="383"/>
                </a:lnTo>
                <a:lnTo>
                  <a:pt x="626" y="405"/>
                </a:lnTo>
                <a:lnTo>
                  <a:pt x="627" y="428"/>
                </a:lnTo>
                <a:lnTo>
                  <a:pt x="626" y="451"/>
                </a:lnTo>
                <a:lnTo>
                  <a:pt x="277" y="451"/>
                </a:lnTo>
                <a:lnTo>
                  <a:pt x="276" y="428"/>
                </a:lnTo>
                <a:lnTo>
                  <a:pt x="277" y="405"/>
                </a:lnTo>
                <a:lnTo>
                  <a:pt x="278" y="383"/>
                </a:lnTo>
                <a:lnTo>
                  <a:pt x="280" y="359"/>
                </a:lnTo>
                <a:lnTo>
                  <a:pt x="284" y="337"/>
                </a:lnTo>
                <a:lnTo>
                  <a:pt x="288" y="315"/>
                </a:lnTo>
                <a:lnTo>
                  <a:pt x="293" y="293"/>
                </a:lnTo>
                <a:lnTo>
                  <a:pt x="299" y="270"/>
                </a:lnTo>
                <a:lnTo>
                  <a:pt x="299" y="270"/>
                </a:lnTo>
                <a:close/>
                <a:moveTo>
                  <a:pt x="279" y="482"/>
                </a:moveTo>
                <a:lnTo>
                  <a:pt x="625" y="482"/>
                </a:lnTo>
                <a:lnTo>
                  <a:pt x="622" y="504"/>
                </a:lnTo>
                <a:lnTo>
                  <a:pt x="619" y="527"/>
                </a:lnTo>
                <a:lnTo>
                  <a:pt x="614" y="549"/>
                </a:lnTo>
                <a:lnTo>
                  <a:pt x="610" y="572"/>
                </a:lnTo>
                <a:lnTo>
                  <a:pt x="604" y="594"/>
                </a:lnTo>
                <a:lnTo>
                  <a:pt x="597" y="617"/>
                </a:lnTo>
                <a:lnTo>
                  <a:pt x="590" y="639"/>
                </a:lnTo>
                <a:lnTo>
                  <a:pt x="581" y="662"/>
                </a:lnTo>
                <a:lnTo>
                  <a:pt x="322" y="662"/>
                </a:lnTo>
                <a:lnTo>
                  <a:pt x="313" y="639"/>
                </a:lnTo>
                <a:lnTo>
                  <a:pt x="306" y="617"/>
                </a:lnTo>
                <a:lnTo>
                  <a:pt x="299" y="594"/>
                </a:lnTo>
                <a:lnTo>
                  <a:pt x="293" y="572"/>
                </a:lnTo>
                <a:lnTo>
                  <a:pt x="288" y="549"/>
                </a:lnTo>
                <a:lnTo>
                  <a:pt x="284" y="527"/>
                </a:lnTo>
                <a:lnTo>
                  <a:pt x="281" y="504"/>
                </a:lnTo>
                <a:lnTo>
                  <a:pt x="279" y="482"/>
                </a:lnTo>
                <a:close/>
                <a:moveTo>
                  <a:pt x="32" y="482"/>
                </a:moveTo>
                <a:lnTo>
                  <a:pt x="250" y="482"/>
                </a:lnTo>
                <a:lnTo>
                  <a:pt x="252" y="504"/>
                </a:lnTo>
                <a:lnTo>
                  <a:pt x="255" y="527"/>
                </a:lnTo>
                <a:lnTo>
                  <a:pt x="260" y="549"/>
                </a:lnTo>
                <a:lnTo>
                  <a:pt x="264" y="572"/>
                </a:lnTo>
                <a:lnTo>
                  <a:pt x="269" y="594"/>
                </a:lnTo>
                <a:lnTo>
                  <a:pt x="276" y="617"/>
                </a:lnTo>
                <a:lnTo>
                  <a:pt x="283" y="639"/>
                </a:lnTo>
                <a:lnTo>
                  <a:pt x="291" y="662"/>
                </a:lnTo>
                <a:lnTo>
                  <a:pt x="89" y="662"/>
                </a:lnTo>
                <a:lnTo>
                  <a:pt x="78" y="641"/>
                </a:lnTo>
                <a:lnTo>
                  <a:pt x="68" y="620"/>
                </a:lnTo>
                <a:lnTo>
                  <a:pt x="59" y="598"/>
                </a:lnTo>
                <a:lnTo>
                  <a:pt x="51" y="576"/>
                </a:lnTo>
                <a:lnTo>
                  <a:pt x="44" y="553"/>
                </a:lnTo>
                <a:lnTo>
                  <a:pt x="39" y="530"/>
                </a:lnTo>
                <a:lnTo>
                  <a:pt x="34" y="506"/>
                </a:lnTo>
                <a:lnTo>
                  <a:pt x="32" y="482"/>
                </a:lnTo>
                <a:close/>
                <a:moveTo>
                  <a:pt x="873" y="451"/>
                </a:moveTo>
                <a:lnTo>
                  <a:pt x="655" y="451"/>
                </a:lnTo>
                <a:lnTo>
                  <a:pt x="655" y="428"/>
                </a:lnTo>
                <a:lnTo>
                  <a:pt x="655" y="405"/>
                </a:lnTo>
                <a:lnTo>
                  <a:pt x="653" y="383"/>
                </a:lnTo>
                <a:lnTo>
                  <a:pt x="651" y="359"/>
                </a:lnTo>
                <a:lnTo>
                  <a:pt x="648" y="337"/>
                </a:lnTo>
                <a:lnTo>
                  <a:pt x="645" y="315"/>
                </a:lnTo>
                <a:lnTo>
                  <a:pt x="639" y="293"/>
                </a:lnTo>
                <a:lnTo>
                  <a:pt x="634" y="270"/>
                </a:lnTo>
                <a:lnTo>
                  <a:pt x="832" y="270"/>
                </a:lnTo>
                <a:lnTo>
                  <a:pt x="842" y="292"/>
                </a:lnTo>
                <a:lnTo>
                  <a:pt x="849" y="312"/>
                </a:lnTo>
                <a:lnTo>
                  <a:pt x="857" y="335"/>
                </a:lnTo>
                <a:lnTo>
                  <a:pt x="862" y="356"/>
                </a:lnTo>
                <a:lnTo>
                  <a:pt x="867" y="380"/>
                </a:lnTo>
                <a:lnTo>
                  <a:pt x="870" y="402"/>
                </a:lnTo>
                <a:lnTo>
                  <a:pt x="872" y="426"/>
                </a:lnTo>
                <a:lnTo>
                  <a:pt x="873" y="449"/>
                </a:lnTo>
                <a:lnTo>
                  <a:pt x="873" y="450"/>
                </a:lnTo>
                <a:lnTo>
                  <a:pt x="873" y="451"/>
                </a:lnTo>
                <a:lnTo>
                  <a:pt x="873" y="451"/>
                </a:lnTo>
                <a:close/>
                <a:moveTo>
                  <a:pt x="451" y="0"/>
                </a:moveTo>
                <a:lnTo>
                  <a:pt x="442" y="0"/>
                </a:lnTo>
                <a:lnTo>
                  <a:pt x="432" y="0"/>
                </a:lnTo>
                <a:lnTo>
                  <a:pt x="409" y="1"/>
                </a:lnTo>
                <a:lnTo>
                  <a:pt x="386" y="4"/>
                </a:lnTo>
                <a:lnTo>
                  <a:pt x="365" y="7"/>
                </a:lnTo>
                <a:lnTo>
                  <a:pt x="343" y="12"/>
                </a:lnTo>
                <a:lnTo>
                  <a:pt x="322" y="17"/>
                </a:lnTo>
                <a:lnTo>
                  <a:pt x="300" y="23"/>
                </a:lnTo>
                <a:lnTo>
                  <a:pt x="280" y="31"/>
                </a:lnTo>
                <a:lnTo>
                  <a:pt x="261" y="39"/>
                </a:lnTo>
                <a:lnTo>
                  <a:pt x="241" y="48"/>
                </a:lnTo>
                <a:lnTo>
                  <a:pt x="223" y="58"/>
                </a:lnTo>
                <a:lnTo>
                  <a:pt x="205" y="68"/>
                </a:lnTo>
                <a:lnTo>
                  <a:pt x="187" y="80"/>
                </a:lnTo>
                <a:lnTo>
                  <a:pt x="170" y="92"/>
                </a:lnTo>
                <a:lnTo>
                  <a:pt x="154" y="106"/>
                </a:lnTo>
                <a:lnTo>
                  <a:pt x="138" y="119"/>
                </a:lnTo>
                <a:lnTo>
                  <a:pt x="123" y="134"/>
                </a:lnTo>
                <a:lnTo>
                  <a:pt x="109" y="149"/>
                </a:lnTo>
                <a:lnTo>
                  <a:pt x="96" y="165"/>
                </a:lnTo>
                <a:lnTo>
                  <a:pt x="84" y="181"/>
                </a:lnTo>
                <a:lnTo>
                  <a:pt x="72" y="198"/>
                </a:lnTo>
                <a:lnTo>
                  <a:pt x="61" y="215"/>
                </a:lnTo>
                <a:lnTo>
                  <a:pt x="50" y="234"/>
                </a:lnTo>
                <a:lnTo>
                  <a:pt x="41" y="253"/>
                </a:lnTo>
                <a:lnTo>
                  <a:pt x="33" y="272"/>
                </a:lnTo>
                <a:lnTo>
                  <a:pt x="26" y="292"/>
                </a:lnTo>
                <a:lnTo>
                  <a:pt x="18" y="312"/>
                </a:lnTo>
                <a:lnTo>
                  <a:pt x="13" y="332"/>
                </a:lnTo>
                <a:lnTo>
                  <a:pt x="9" y="354"/>
                </a:lnTo>
                <a:lnTo>
                  <a:pt x="4" y="375"/>
                </a:lnTo>
                <a:lnTo>
                  <a:pt x="2" y="397"/>
                </a:lnTo>
                <a:lnTo>
                  <a:pt x="0" y="419"/>
                </a:lnTo>
                <a:lnTo>
                  <a:pt x="0" y="442"/>
                </a:lnTo>
                <a:lnTo>
                  <a:pt x="0" y="465"/>
                </a:lnTo>
                <a:lnTo>
                  <a:pt x="2" y="489"/>
                </a:lnTo>
                <a:lnTo>
                  <a:pt x="5" y="512"/>
                </a:lnTo>
                <a:lnTo>
                  <a:pt x="9" y="534"/>
                </a:lnTo>
                <a:lnTo>
                  <a:pt x="14" y="557"/>
                </a:lnTo>
                <a:lnTo>
                  <a:pt x="20" y="579"/>
                </a:lnTo>
                <a:lnTo>
                  <a:pt x="27" y="601"/>
                </a:lnTo>
                <a:lnTo>
                  <a:pt x="35" y="621"/>
                </a:lnTo>
                <a:lnTo>
                  <a:pt x="44" y="641"/>
                </a:lnTo>
                <a:lnTo>
                  <a:pt x="55" y="662"/>
                </a:lnTo>
                <a:lnTo>
                  <a:pt x="65" y="681"/>
                </a:lnTo>
                <a:lnTo>
                  <a:pt x="77" y="699"/>
                </a:lnTo>
                <a:lnTo>
                  <a:pt x="89" y="718"/>
                </a:lnTo>
                <a:lnTo>
                  <a:pt x="103" y="735"/>
                </a:lnTo>
                <a:lnTo>
                  <a:pt x="117" y="752"/>
                </a:lnTo>
                <a:lnTo>
                  <a:pt x="132" y="768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198" y="824"/>
                </a:lnTo>
                <a:lnTo>
                  <a:pt x="217" y="836"/>
                </a:lnTo>
                <a:lnTo>
                  <a:pt x="236" y="847"/>
                </a:lnTo>
                <a:lnTo>
                  <a:pt x="255" y="857"/>
                </a:lnTo>
                <a:lnTo>
                  <a:pt x="276" y="867"/>
                </a:lnTo>
                <a:lnTo>
                  <a:pt x="296" y="875"/>
                </a:lnTo>
                <a:lnTo>
                  <a:pt x="316" y="882"/>
                </a:lnTo>
                <a:lnTo>
                  <a:pt x="338" y="888"/>
                </a:lnTo>
                <a:lnTo>
                  <a:pt x="359" y="894"/>
                </a:lnTo>
                <a:lnTo>
                  <a:pt x="382" y="898"/>
                </a:lnTo>
                <a:lnTo>
                  <a:pt x="404" y="901"/>
                </a:lnTo>
                <a:lnTo>
                  <a:pt x="427" y="902"/>
                </a:lnTo>
                <a:lnTo>
                  <a:pt x="450" y="903"/>
                </a:lnTo>
                <a:lnTo>
                  <a:pt x="474" y="902"/>
                </a:lnTo>
                <a:lnTo>
                  <a:pt x="497" y="901"/>
                </a:lnTo>
                <a:lnTo>
                  <a:pt x="519" y="898"/>
                </a:lnTo>
                <a:lnTo>
                  <a:pt x="542" y="894"/>
                </a:lnTo>
                <a:lnTo>
                  <a:pt x="563" y="888"/>
                </a:lnTo>
                <a:lnTo>
                  <a:pt x="584" y="883"/>
                </a:lnTo>
                <a:lnTo>
                  <a:pt x="606" y="875"/>
                </a:lnTo>
                <a:lnTo>
                  <a:pt x="626" y="868"/>
                </a:lnTo>
                <a:lnTo>
                  <a:pt x="647" y="858"/>
                </a:lnTo>
                <a:lnTo>
                  <a:pt x="666" y="848"/>
                </a:lnTo>
                <a:lnTo>
                  <a:pt x="685" y="838"/>
                </a:lnTo>
                <a:lnTo>
                  <a:pt x="704" y="826"/>
                </a:lnTo>
                <a:lnTo>
                  <a:pt x="721" y="813"/>
                </a:lnTo>
                <a:lnTo>
                  <a:pt x="738" y="799"/>
                </a:lnTo>
                <a:lnTo>
                  <a:pt x="755" y="785"/>
                </a:lnTo>
                <a:lnTo>
                  <a:pt x="770" y="770"/>
                </a:lnTo>
                <a:lnTo>
                  <a:pt x="785" y="754"/>
                </a:lnTo>
                <a:lnTo>
                  <a:pt x="799" y="738"/>
                </a:lnTo>
                <a:lnTo>
                  <a:pt x="813" y="721"/>
                </a:lnTo>
                <a:lnTo>
                  <a:pt x="826" y="703"/>
                </a:lnTo>
                <a:lnTo>
                  <a:pt x="838" y="684"/>
                </a:lnTo>
                <a:lnTo>
                  <a:pt x="848" y="665"/>
                </a:lnTo>
                <a:lnTo>
                  <a:pt x="858" y="646"/>
                </a:lnTo>
                <a:lnTo>
                  <a:pt x="868" y="626"/>
                </a:lnTo>
                <a:lnTo>
                  <a:pt x="875" y="605"/>
                </a:lnTo>
                <a:lnTo>
                  <a:pt x="883" y="585"/>
                </a:lnTo>
                <a:lnTo>
                  <a:pt x="889" y="563"/>
                </a:lnTo>
                <a:lnTo>
                  <a:pt x="893" y="541"/>
                </a:lnTo>
                <a:lnTo>
                  <a:pt x="898" y="518"/>
                </a:lnTo>
                <a:lnTo>
                  <a:pt x="901" y="495"/>
                </a:lnTo>
                <a:lnTo>
                  <a:pt x="902" y="473"/>
                </a:lnTo>
                <a:lnTo>
                  <a:pt x="903" y="449"/>
                </a:lnTo>
                <a:lnTo>
                  <a:pt x="902" y="427"/>
                </a:lnTo>
                <a:lnTo>
                  <a:pt x="901" y="403"/>
                </a:lnTo>
                <a:lnTo>
                  <a:pt x="898" y="381"/>
                </a:lnTo>
                <a:lnTo>
                  <a:pt x="893" y="359"/>
                </a:lnTo>
                <a:lnTo>
                  <a:pt x="889" y="337"/>
                </a:lnTo>
                <a:lnTo>
                  <a:pt x="883" y="316"/>
                </a:lnTo>
                <a:lnTo>
                  <a:pt x="875" y="295"/>
                </a:lnTo>
                <a:lnTo>
                  <a:pt x="868" y="274"/>
                </a:lnTo>
                <a:lnTo>
                  <a:pt x="858" y="254"/>
                </a:lnTo>
                <a:lnTo>
                  <a:pt x="848" y="235"/>
                </a:lnTo>
                <a:lnTo>
                  <a:pt x="838" y="217"/>
                </a:lnTo>
                <a:lnTo>
                  <a:pt x="826" y="198"/>
                </a:lnTo>
                <a:lnTo>
                  <a:pt x="813" y="180"/>
                </a:lnTo>
                <a:lnTo>
                  <a:pt x="800" y="163"/>
                </a:lnTo>
                <a:lnTo>
                  <a:pt x="786" y="147"/>
                </a:lnTo>
                <a:lnTo>
                  <a:pt x="771" y="132"/>
                </a:lnTo>
                <a:lnTo>
                  <a:pt x="755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5" y="65"/>
                </a:lnTo>
                <a:lnTo>
                  <a:pt x="667" y="53"/>
                </a:lnTo>
                <a:lnTo>
                  <a:pt x="647" y="44"/>
                </a:lnTo>
                <a:lnTo>
                  <a:pt x="627" y="35"/>
                </a:lnTo>
                <a:lnTo>
                  <a:pt x="607" y="27"/>
                </a:lnTo>
                <a:lnTo>
                  <a:pt x="586" y="20"/>
                </a:lnTo>
                <a:lnTo>
                  <a:pt x="564" y="14"/>
                </a:lnTo>
                <a:lnTo>
                  <a:pt x="543" y="8"/>
                </a:lnTo>
                <a:lnTo>
                  <a:pt x="520" y="5"/>
                </a:lnTo>
                <a:lnTo>
                  <a:pt x="498" y="2"/>
                </a:lnTo>
                <a:lnTo>
                  <a:pt x="475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799833" y="5364800"/>
            <a:ext cx="592334" cy="592334"/>
            <a:chOff x="11593513" y="782638"/>
            <a:chExt cx="285750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9" name="Freeform 300"/>
            <p:cNvSpPr/>
            <p:nvPr/>
          </p:nvSpPr>
          <p:spPr bwMode="auto">
            <a:xfrm>
              <a:off x="11726863" y="1038225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1 w 120"/>
                <a:gd name="T7" fmla="*/ 29 h 30"/>
                <a:gd name="T8" fmla="*/ 114 w 120"/>
                <a:gd name="T9" fmla="*/ 28 h 30"/>
                <a:gd name="T10" fmla="*/ 116 w 120"/>
                <a:gd name="T11" fmla="*/ 26 h 30"/>
                <a:gd name="T12" fmla="*/ 118 w 120"/>
                <a:gd name="T13" fmla="*/ 24 h 30"/>
                <a:gd name="T14" fmla="*/ 119 w 120"/>
                <a:gd name="T15" fmla="*/ 22 h 30"/>
                <a:gd name="T16" fmla="*/ 120 w 120"/>
                <a:gd name="T17" fmla="*/ 19 h 30"/>
                <a:gd name="T18" fmla="*/ 120 w 120"/>
                <a:gd name="T19" fmla="*/ 15 h 30"/>
                <a:gd name="T20" fmla="*/ 120 w 120"/>
                <a:gd name="T21" fmla="*/ 13 h 30"/>
                <a:gd name="T22" fmla="*/ 119 w 120"/>
                <a:gd name="T23" fmla="*/ 10 h 30"/>
                <a:gd name="T24" fmla="*/ 118 w 120"/>
                <a:gd name="T25" fmla="*/ 8 h 30"/>
                <a:gd name="T26" fmla="*/ 116 w 120"/>
                <a:gd name="T27" fmla="*/ 5 h 30"/>
                <a:gd name="T28" fmla="*/ 114 w 120"/>
                <a:gd name="T29" fmla="*/ 4 h 30"/>
                <a:gd name="T30" fmla="*/ 111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1 h 30"/>
                <a:gd name="T40" fmla="*/ 9 w 120"/>
                <a:gd name="T41" fmla="*/ 1 h 30"/>
                <a:gd name="T42" fmla="*/ 7 w 120"/>
                <a:gd name="T43" fmla="*/ 4 h 30"/>
                <a:gd name="T44" fmla="*/ 5 w 120"/>
                <a:gd name="T45" fmla="*/ 5 h 30"/>
                <a:gd name="T46" fmla="*/ 2 w 120"/>
                <a:gd name="T47" fmla="*/ 8 h 30"/>
                <a:gd name="T48" fmla="*/ 1 w 120"/>
                <a:gd name="T49" fmla="*/ 10 h 30"/>
                <a:gd name="T50" fmla="*/ 0 w 120"/>
                <a:gd name="T51" fmla="*/ 13 h 30"/>
                <a:gd name="T52" fmla="*/ 0 w 120"/>
                <a:gd name="T53" fmla="*/ 15 h 30"/>
                <a:gd name="T54" fmla="*/ 0 w 120"/>
                <a:gd name="T55" fmla="*/ 19 h 30"/>
                <a:gd name="T56" fmla="*/ 1 w 120"/>
                <a:gd name="T57" fmla="*/ 22 h 30"/>
                <a:gd name="T58" fmla="*/ 2 w 120"/>
                <a:gd name="T59" fmla="*/ 24 h 30"/>
                <a:gd name="T60" fmla="*/ 5 w 120"/>
                <a:gd name="T61" fmla="*/ 26 h 30"/>
                <a:gd name="T62" fmla="*/ 7 w 120"/>
                <a:gd name="T63" fmla="*/ 28 h 30"/>
                <a:gd name="T64" fmla="*/ 9 w 120"/>
                <a:gd name="T65" fmla="*/ 29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19" y="10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301"/>
            <p:cNvSpPr/>
            <p:nvPr/>
          </p:nvSpPr>
          <p:spPr bwMode="auto">
            <a:xfrm>
              <a:off x="11669713" y="811213"/>
              <a:ext cx="9525" cy="161925"/>
            </a:xfrm>
            <a:custGeom>
              <a:avLst/>
              <a:gdLst>
                <a:gd name="T0" fmla="*/ 15 w 31"/>
                <a:gd name="T1" fmla="*/ 510 h 510"/>
                <a:gd name="T2" fmla="*/ 18 w 31"/>
                <a:gd name="T3" fmla="*/ 510 h 510"/>
                <a:gd name="T4" fmla="*/ 21 w 31"/>
                <a:gd name="T5" fmla="*/ 509 h 510"/>
                <a:gd name="T6" fmla="*/ 23 w 31"/>
                <a:gd name="T7" fmla="*/ 507 h 510"/>
                <a:gd name="T8" fmla="*/ 25 w 31"/>
                <a:gd name="T9" fmla="*/ 506 h 510"/>
                <a:gd name="T10" fmla="*/ 27 w 31"/>
                <a:gd name="T11" fmla="*/ 504 h 510"/>
                <a:gd name="T12" fmla="*/ 29 w 31"/>
                <a:gd name="T13" fmla="*/ 500 h 510"/>
                <a:gd name="T14" fmla="*/ 30 w 31"/>
                <a:gd name="T15" fmla="*/ 498 h 510"/>
                <a:gd name="T16" fmla="*/ 31 w 31"/>
                <a:gd name="T17" fmla="*/ 495 h 510"/>
                <a:gd name="T18" fmla="*/ 31 w 31"/>
                <a:gd name="T19" fmla="*/ 15 h 510"/>
                <a:gd name="T20" fmla="*/ 30 w 31"/>
                <a:gd name="T21" fmla="*/ 12 h 510"/>
                <a:gd name="T22" fmla="*/ 29 w 31"/>
                <a:gd name="T23" fmla="*/ 9 h 510"/>
                <a:gd name="T24" fmla="*/ 27 w 31"/>
                <a:gd name="T25" fmla="*/ 7 h 510"/>
                <a:gd name="T26" fmla="*/ 25 w 31"/>
                <a:gd name="T27" fmla="*/ 5 h 510"/>
                <a:gd name="T28" fmla="*/ 23 w 31"/>
                <a:gd name="T29" fmla="*/ 3 h 510"/>
                <a:gd name="T30" fmla="*/ 21 w 31"/>
                <a:gd name="T31" fmla="*/ 1 h 510"/>
                <a:gd name="T32" fmla="*/ 18 w 31"/>
                <a:gd name="T33" fmla="*/ 0 h 510"/>
                <a:gd name="T34" fmla="*/ 15 w 31"/>
                <a:gd name="T35" fmla="*/ 0 h 510"/>
                <a:gd name="T36" fmla="*/ 13 w 31"/>
                <a:gd name="T37" fmla="*/ 0 h 510"/>
                <a:gd name="T38" fmla="*/ 9 w 31"/>
                <a:gd name="T39" fmla="*/ 1 h 510"/>
                <a:gd name="T40" fmla="*/ 7 w 31"/>
                <a:gd name="T41" fmla="*/ 3 h 510"/>
                <a:gd name="T42" fmla="*/ 5 w 31"/>
                <a:gd name="T43" fmla="*/ 5 h 510"/>
                <a:gd name="T44" fmla="*/ 3 w 31"/>
                <a:gd name="T45" fmla="*/ 7 h 510"/>
                <a:gd name="T46" fmla="*/ 2 w 31"/>
                <a:gd name="T47" fmla="*/ 9 h 510"/>
                <a:gd name="T48" fmla="*/ 1 w 31"/>
                <a:gd name="T49" fmla="*/ 12 h 510"/>
                <a:gd name="T50" fmla="*/ 0 w 31"/>
                <a:gd name="T51" fmla="*/ 15 h 510"/>
                <a:gd name="T52" fmla="*/ 0 w 31"/>
                <a:gd name="T53" fmla="*/ 495 h 510"/>
                <a:gd name="T54" fmla="*/ 1 w 31"/>
                <a:gd name="T55" fmla="*/ 498 h 510"/>
                <a:gd name="T56" fmla="*/ 2 w 31"/>
                <a:gd name="T57" fmla="*/ 500 h 510"/>
                <a:gd name="T58" fmla="*/ 3 w 31"/>
                <a:gd name="T59" fmla="*/ 504 h 510"/>
                <a:gd name="T60" fmla="*/ 5 w 31"/>
                <a:gd name="T61" fmla="*/ 506 h 510"/>
                <a:gd name="T62" fmla="*/ 7 w 31"/>
                <a:gd name="T63" fmla="*/ 507 h 510"/>
                <a:gd name="T64" fmla="*/ 9 w 31"/>
                <a:gd name="T65" fmla="*/ 509 h 510"/>
                <a:gd name="T66" fmla="*/ 13 w 31"/>
                <a:gd name="T67" fmla="*/ 510 h 510"/>
                <a:gd name="T68" fmla="*/ 15 w 31"/>
                <a:gd name="T6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10">
                  <a:moveTo>
                    <a:pt x="15" y="510"/>
                  </a:moveTo>
                  <a:lnTo>
                    <a:pt x="18" y="510"/>
                  </a:lnTo>
                  <a:lnTo>
                    <a:pt x="21" y="509"/>
                  </a:lnTo>
                  <a:lnTo>
                    <a:pt x="23" y="507"/>
                  </a:lnTo>
                  <a:lnTo>
                    <a:pt x="25" y="506"/>
                  </a:lnTo>
                  <a:lnTo>
                    <a:pt x="27" y="504"/>
                  </a:lnTo>
                  <a:lnTo>
                    <a:pt x="29" y="500"/>
                  </a:lnTo>
                  <a:lnTo>
                    <a:pt x="30" y="498"/>
                  </a:lnTo>
                  <a:lnTo>
                    <a:pt x="31" y="495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5"/>
                  </a:lnTo>
                  <a:lnTo>
                    <a:pt x="1" y="498"/>
                  </a:lnTo>
                  <a:lnTo>
                    <a:pt x="2" y="500"/>
                  </a:lnTo>
                  <a:lnTo>
                    <a:pt x="3" y="504"/>
                  </a:lnTo>
                  <a:lnTo>
                    <a:pt x="5" y="506"/>
                  </a:lnTo>
                  <a:lnTo>
                    <a:pt x="7" y="507"/>
                  </a:lnTo>
                  <a:lnTo>
                    <a:pt x="9" y="509"/>
                  </a:lnTo>
                  <a:lnTo>
                    <a:pt x="13" y="510"/>
                  </a:lnTo>
                  <a:lnTo>
                    <a:pt x="15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302"/>
            <p:cNvSpPr>
              <a:spLocks noEditPoints="1"/>
            </p:cNvSpPr>
            <p:nvPr/>
          </p:nvSpPr>
          <p:spPr bwMode="auto">
            <a:xfrm>
              <a:off x="11660188" y="982663"/>
              <a:ext cx="38100" cy="65088"/>
            </a:xfrm>
            <a:custGeom>
              <a:avLst/>
              <a:gdLst>
                <a:gd name="T0" fmla="*/ 91 w 121"/>
                <a:gd name="T1" fmla="*/ 179 h 209"/>
                <a:gd name="T2" fmla="*/ 30 w 121"/>
                <a:gd name="T3" fmla="*/ 179 h 209"/>
                <a:gd name="T4" fmla="*/ 30 w 121"/>
                <a:gd name="T5" fmla="*/ 30 h 209"/>
                <a:gd name="T6" fmla="*/ 91 w 121"/>
                <a:gd name="T7" fmla="*/ 30 h 209"/>
                <a:gd name="T8" fmla="*/ 91 w 121"/>
                <a:gd name="T9" fmla="*/ 179 h 209"/>
                <a:gd name="T10" fmla="*/ 106 w 121"/>
                <a:gd name="T11" fmla="*/ 0 h 209"/>
                <a:gd name="T12" fmla="*/ 15 w 121"/>
                <a:gd name="T13" fmla="*/ 0 h 209"/>
                <a:gd name="T14" fmla="*/ 13 w 121"/>
                <a:gd name="T15" fmla="*/ 0 h 209"/>
                <a:gd name="T16" fmla="*/ 9 w 121"/>
                <a:gd name="T17" fmla="*/ 1 h 209"/>
                <a:gd name="T18" fmla="*/ 7 w 121"/>
                <a:gd name="T19" fmla="*/ 2 h 209"/>
                <a:gd name="T20" fmla="*/ 5 w 121"/>
                <a:gd name="T21" fmla="*/ 4 h 209"/>
                <a:gd name="T22" fmla="*/ 3 w 121"/>
                <a:gd name="T23" fmla="*/ 6 h 209"/>
                <a:gd name="T24" fmla="*/ 1 w 121"/>
                <a:gd name="T25" fmla="*/ 10 h 209"/>
                <a:gd name="T26" fmla="*/ 1 w 121"/>
                <a:gd name="T27" fmla="*/ 12 h 209"/>
                <a:gd name="T28" fmla="*/ 0 w 121"/>
                <a:gd name="T29" fmla="*/ 15 h 209"/>
                <a:gd name="T30" fmla="*/ 0 w 121"/>
                <a:gd name="T31" fmla="*/ 194 h 209"/>
                <a:gd name="T32" fmla="*/ 1 w 121"/>
                <a:gd name="T33" fmla="*/ 198 h 209"/>
                <a:gd name="T34" fmla="*/ 1 w 121"/>
                <a:gd name="T35" fmla="*/ 201 h 209"/>
                <a:gd name="T36" fmla="*/ 3 w 121"/>
                <a:gd name="T37" fmla="*/ 203 h 209"/>
                <a:gd name="T38" fmla="*/ 5 w 121"/>
                <a:gd name="T39" fmla="*/ 205 h 209"/>
                <a:gd name="T40" fmla="*/ 7 w 121"/>
                <a:gd name="T41" fmla="*/ 207 h 209"/>
                <a:gd name="T42" fmla="*/ 9 w 121"/>
                <a:gd name="T43" fmla="*/ 208 h 209"/>
                <a:gd name="T44" fmla="*/ 13 w 121"/>
                <a:gd name="T45" fmla="*/ 209 h 209"/>
                <a:gd name="T46" fmla="*/ 15 w 121"/>
                <a:gd name="T47" fmla="*/ 209 h 209"/>
                <a:gd name="T48" fmla="*/ 106 w 121"/>
                <a:gd name="T49" fmla="*/ 209 h 209"/>
                <a:gd name="T50" fmla="*/ 108 w 121"/>
                <a:gd name="T51" fmla="*/ 209 h 209"/>
                <a:gd name="T52" fmla="*/ 111 w 121"/>
                <a:gd name="T53" fmla="*/ 208 h 209"/>
                <a:gd name="T54" fmla="*/ 113 w 121"/>
                <a:gd name="T55" fmla="*/ 207 h 209"/>
                <a:gd name="T56" fmla="*/ 116 w 121"/>
                <a:gd name="T57" fmla="*/ 205 h 209"/>
                <a:gd name="T58" fmla="*/ 117 w 121"/>
                <a:gd name="T59" fmla="*/ 203 h 209"/>
                <a:gd name="T60" fmla="*/ 119 w 121"/>
                <a:gd name="T61" fmla="*/ 201 h 209"/>
                <a:gd name="T62" fmla="*/ 119 w 121"/>
                <a:gd name="T63" fmla="*/ 198 h 209"/>
                <a:gd name="T64" fmla="*/ 121 w 121"/>
                <a:gd name="T65" fmla="*/ 194 h 209"/>
                <a:gd name="T66" fmla="*/ 121 w 121"/>
                <a:gd name="T67" fmla="*/ 15 h 209"/>
                <a:gd name="T68" fmla="*/ 119 w 121"/>
                <a:gd name="T69" fmla="*/ 12 h 209"/>
                <a:gd name="T70" fmla="*/ 119 w 121"/>
                <a:gd name="T71" fmla="*/ 10 h 209"/>
                <a:gd name="T72" fmla="*/ 117 w 121"/>
                <a:gd name="T73" fmla="*/ 6 h 209"/>
                <a:gd name="T74" fmla="*/ 116 w 121"/>
                <a:gd name="T75" fmla="*/ 4 h 209"/>
                <a:gd name="T76" fmla="*/ 113 w 121"/>
                <a:gd name="T77" fmla="*/ 2 h 209"/>
                <a:gd name="T78" fmla="*/ 111 w 121"/>
                <a:gd name="T79" fmla="*/ 1 h 209"/>
                <a:gd name="T80" fmla="*/ 108 w 121"/>
                <a:gd name="T81" fmla="*/ 0 h 209"/>
                <a:gd name="T82" fmla="*/ 106 w 121"/>
                <a:gd name="T83" fmla="*/ 0 h 209"/>
                <a:gd name="T84" fmla="*/ 106 w 121"/>
                <a:gd name="T8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209">
                  <a:moveTo>
                    <a:pt x="91" y="179"/>
                  </a:moveTo>
                  <a:lnTo>
                    <a:pt x="30" y="179"/>
                  </a:lnTo>
                  <a:lnTo>
                    <a:pt x="30" y="30"/>
                  </a:lnTo>
                  <a:lnTo>
                    <a:pt x="91" y="30"/>
                  </a:lnTo>
                  <a:lnTo>
                    <a:pt x="91" y="179"/>
                  </a:lnTo>
                  <a:close/>
                  <a:moveTo>
                    <a:pt x="10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1" y="201"/>
                  </a:lnTo>
                  <a:lnTo>
                    <a:pt x="3" y="203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9" y="208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06" y="209"/>
                  </a:lnTo>
                  <a:lnTo>
                    <a:pt x="108" y="209"/>
                  </a:lnTo>
                  <a:lnTo>
                    <a:pt x="111" y="208"/>
                  </a:lnTo>
                  <a:lnTo>
                    <a:pt x="113" y="207"/>
                  </a:lnTo>
                  <a:lnTo>
                    <a:pt x="116" y="205"/>
                  </a:lnTo>
                  <a:lnTo>
                    <a:pt x="117" y="203"/>
                  </a:lnTo>
                  <a:lnTo>
                    <a:pt x="119" y="201"/>
                  </a:lnTo>
                  <a:lnTo>
                    <a:pt x="119" y="198"/>
                  </a:lnTo>
                  <a:lnTo>
                    <a:pt x="121" y="194"/>
                  </a:lnTo>
                  <a:lnTo>
                    <a:pt x="121" y="15"/>
                  </a:lnTo>
                  <a:lnTo>
                    <a:pt x="119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3" y="2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303"/>
            <p:cNvSpPr/>
            <p:nvPr/>
          </p:nvSpPr>
          <p:spPr bwMode="auto">
            <a:xfrm>
              <a:off x="11736388" y="906463"/>
              <a:ext cx="9525" cy="114300"/>
            </a:xfrm>
            <a:custGeom>
              <a:avLst/>
              <a:gdLst>
                <a:gd name="T0" fmla="*/ 15 w 30"/>
                <a:gd name="T1" fmla="*/ 360 h 360"/>
                <a:gd name="T2" fmla="*/ 18 w 30"/>
                <a:gd name="T3" fmla="*/ 360 h 360"/>
                <a:gd name="T4" fmla="*/ 20 w 30"/>
                <a:gd name="T5" fmla="*/ 358 h 360"/>
                <a:gd name="T6" fmla="*/ 24 w 30"/>
                <a:gd name="T7" fmla="*/ 357 h 360"/>
                <a:gd name="T8" fmla="*/ 26 w 30"/>
                <a:gd name="T9" fmla="*/ 355 h 360"/>
                <a:gd name="T10" fmla="*/ 28 w 30"/>
                <a:gd name="T11" fmla="*/ 353 h 360"/>
                <a:gd name="T12" fmla="*/ 29 w 30"/>
                <a:gd name="T13" fmla="*/ 351 h 360"/>
                <a:gd name="T14" fmla="*/ 30 w 30"/>
                <a:gd name="T15" fmla="*/ 348 h 360"/>
                <a:gd name="T16" fmla="*/ 30 w 30"/>
                <a:gd name="T17" fmla="*/ 345 h 360"/>
                <a:gd name="T18" fmla="*/ 30 w 30"/>
                <a:gd name="T19" fmla="*/ 14 h 360"/>
                <a:gd name="T20" fmla="*/ 30 w 30"/>
                <a:gd name="T21" fmla="*/ 12 h 360"/>
                <a:gd name="T22" fmla="*/ 29 w 30"/>
                <a:gd name="T23" fmla="*/ 9 h 360"/>
                <a:gd name="T24" fmla="*/ 28 w 30"/>
                <a:gd name="T25" fmla="*/ 7 h 360"/>
                <a:gd name="T26" fmla="*/ 26 w 30"/>
                <a:gd name="T27" fmla="*/ 4 h 360"/>
                <a:gd name="T28" fmla="*/ 24 w 30"/>
                <a:gd name="T29" fmla="*/ 3 h 360"/>
                <a:gd name="T30" fmla="*/ 20 w 30"/>
                <a:gd name="T31" fmla="*/ 1 h 360"/>
                <a:gd name="T32" fmla="*/ 18 w 30"/>
                <a:gd name="T33" fmla="*/ 1 h 360"/>
                <a:gd name="T34" fmla="*/ 15 w 30"/>
                <a:gd name="T35" fmla="*/ 0 h 360"/>
                <a:gd name="T36" fmla="*/ 12 w 30"/>
                <a:gd name="T37" fmla="*/ 1 h 360"/>
                <a:gd name="T38" fmla="*/ 10 w 30"/>
                <a:gd name="T39" fmla="*/ 1 h 360"/>
                <a:gd name="T40" fmla="*/ 7 w 30"/>
                <a:gd name="T41" fmla="*/ 3 h 360"/>
                <a:gd name="T42" fmla="*/ 4 w 30"/>
                <a:gd name="T43" fmla="*/ 4 h 360"/>
                <a:gd name="T44" fmla="*/ 2 w 30"/>
                <a:gd name="T45" fmla="*/ 7 h 360"/>
                <a:gd name="T46" fmla="*/ 1 w 30"/>
                <a:gd name="T47" fmla="*/ 9 h 360"/>
                <a:gd name="T48" fmla="*/ 0 w 30"/>
                <a:gd name="T49" fmla="*/ 12 h 360"/>
                <a:gd name="T50" fmla="*/ 0 w 30"/>
                <a:gd name="T51" fmla="*/ 14 h 360"/>
                <a:gd name="T52" fmla="*/ 0 w 30"/>
                <a:gd name="T53" fmla="*/ 345 h 360"/>
                <a:gd name="T54" fmla="*/ 0 w 30"/>
                <a:gd name="T55" fmla="*/ 348 h 360"/>
                <a:gd name="T56" fmla="*/ 1 w 30"/>
                <a:gd name="T57" fmla="*/ 351 h 360"/>
                <a:gd name="T58" fmla="*/ 2 w 30"/>
                <a:gd name="T59" fmla="*/ 353 h 360"/>
                <a:gd name="T60" fmla="*/ 4 w 30"/>
                <a:gd name="T61" fmla="*/ 355 h 360"/>
                <a:gd name="T62" fmla="*/ 7 w 30"/>
                <a:gd name="T63" fmla="*/ 357 h 360"/>
                <a:gd name="T64" fmla="*/ 10 w 30"/>
                <a:gd name="T65" fmla="*/ 358 h 360"/>
                <a:gd name="T66" fmla="*/ 12 w 30"/>
                <a:gd name="T67" fmla="*/ 360 h 360"/>
                <a:gd name="T68" fmla="*/ 15 w 30"/>
                <a:gd name="T6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360">
                  <a:moveTo>
                    <a:pt x="15" y="360"/>
                  </a:moveTo>
                  <a:lnTo>
                    <a:pt x="18" y="360"/>
                  </a:lnTo>
                  <a:lnTo>
                    <a:pt x="20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5"/>
                  </a:lnTo>
                  <a:lnTo>
                    <a:pt x="7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304"/>
            <p:cNvSpPr/>
            <p:nvPr/>
          </p:nvSpPr>
          <p:spPr bwMode="auto">
            <a:xfrm>
              <a:off x="11612563" y="858838"/>
              <a:ext cx="9525" cy="169863"/>
            </a:xfrm>
            <a:custGeom>
              <a:avLst/>
              <a:gdLst>
                <a:gd name="T0" fmla="*/ 15 w 30"/>
                <a:gd name="T1" fmla="*/ 0 h 539"/>
                <a:gd name="T2" fmla="*/ 12 w 30"/>
                <a:gd name="T3" fmla="*/ 0 h 539"/>
                <a:gd name="T4" fmla="*/ 10 w 30"/>
                <a:gd name="T5" fmla="*/ 1 h 539"/>
                <a:gd name="T6" fmla="*/ 7 w 30"/>
                <a:gd name="T7" fmla="*/ 2 h 539"/>
                <a:gd name="T8" fmla="*/ 4 w 30"/>
                <a:gd name="T9" fmla="*/ 4 h 539"/>
                <a:gd name="T10" fmla="*/ 2 w 30"/>
                <a:gd name="T11" fmla="*/ 6 h 539"/>
                <a:gd name="T12" fmla="*/ 1 w 30"/>
                <a:gd name="T13" fmla="*/ 10 h 539"/>
                <a:gd name="T14" fmla="*/ 0 w 30"/>
                <a:gd name="T15" fmla="*/ 12 h 539"/>
                <a:gd name="T16" fmla="*/ 0 w 30"/>
                <a:gd name="T17" fmla="*/ 15 h 539"/>
                <a:gd name="T18" fmla="*/ 0 w 30"/>
                <a:gd name="T19" fmla="*/ 525 h 539"/>
                <a:gd name="T20" fmla="*/ 0 w 30"/>
                <a:gd name="T21" fmla="*/ 528 h 539"/>
                <a:gd name="T22" fmla="*/ 1 w 30"/>
                <a:gd name="T23" fmla="*/ 531 h 539"/>
                <a:gd name="T24" fmla="*/ 2 w 30"/>
                <a:gd name="T25" fmla="*/ 533 h 539"/>
                <a:gd name="T26" fmla="*/ 4 w 30"/>
                <a:gd name="T27" fmla="*/ 535 h 539"/>
                <a:gd name="T28" fmla="*/ 7 w 30"/>
                <a:gd name="T29" fmla="*/ 537 h 539"/>
                <a:gd name="T30" fmla="*/ 10 w 30"/>
                <a:gd name="T31" fmla="*/ 538 h 539"/>
                <a:gd name="T32" fmla="*/ 12 w 30"/>
                <a:gd name="T33" fmla="*/ 539 h 539"/>
                <a:gd name="T34" fmla="*/ 15 w 30"/>
                <a:gd name="T35" fmla="*/ 539 h 539"/>
                <a:gd name="T36" fmla="*/ 18 w 30"/>
                <a:gd name="T37" fmla="*/ 539 h 539"/>
                <a:gd name="T38" fmla="*/ 22 w 30"/>
                <a:gd name="T39" fmla="*/ 538 h 539"/>
                <a:gd name="T40" fmla="*/ 24 w 30"/>
                <a:gd name="T41" fmla="*/ 537 h 539"/>
                <a:gd name="T42" fmla="*/ 26 w 30"/>
                <a:gd name="T43" fmla="*/ 535 h 539"/>
                <a:gd name="T44" fmla="*/ 28 w 30"/>
                <a:gd name="T45" fmla="*/ 533 h 539"/>
                <a:gd name="T46" fmla="*/ 29 w 30"/>
                <a:gd name="T47" fmla="*/ 531 h 539"/>
                <a:gd name="T48" fmla="*/ 30 w 30"/>
                <a:gd name="T49" fmla="*/ 528 h 539"/>
                <a:gd name="T50" fmla="*/ 30 w 30"/>
                <a:gd name="T51" fmla="*/ 525 h 539"/>
                <a:gd name="T52" fmla="*/ 30 w 30"/>
                <a:gd name="T53" fmla="*/ 15 h 539"/>
                <a:gd name="T54" fmla="*/ 30 w 30"/>
                <a:gd name="T55" fmla="*/ 12 h 539"/>
                <a:gd name="T56" fmla="*/ 29 w 30"/>
                <a:gd name="T57" fmla="*/ 10 h 539"/>
                <a:gd name="T58" fmla="*/ 28 w 30"/>
                <a:gd name="T59" fmla="*/ 6 h 539"/>
                <a:gd name="T60" fmla="*/ 26 w 30"/>
                <a:gd name="T61" fmla="*/ 4 h 539"/>
                <a:gd name="T62" fmla="*/ 24 w 30"/>
                <a:gd name="T63" fmla="*/ 2 h 539"/>
                <a:gd name="T64" fmla="*/ 22 w 30"/>
                <a:gd name="T65" fmla="*/ 1 h 539"/>
                <a:gd name="T66" fmla="*/ 18 w 30"/>
                <a:gd name="T67" fmla="*/ 0 h 539"/>
                <a:gd name="T68" fmla="*/ 15 w 30"/>
                <a:gd name="T6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539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25"/>
                  </a:lnTo>
                  <a:lnTo>
                    <a:pt x="0" y="528"/>
                  </a:lnTo>
                  <a:lnTo>
                    <a:pt x="1" y="531"/>
                  </a:lnTo>
                  <a:lnTo>
                    <a:pt x="2" y="533"/>
                  </a:lnTo>
                  <a:lnTo>
                    <a:pt x="4" y="535"/>
                  </a:lnTo>
                  <a:lnTo>
                    <a:pt x="7" y="537"/>
                  </a:lnTo>
                  <a:lnTo>
                    <a:pt x="10" y="538"/>
                  </a:lnTo>
                  <a:lnTo>
                    <a:pt x="12" y="539"/>
                  </a:lnTo>
                  <a:lnTo>
                    <a:pt x="15" y="539"/>
                  </a:lnTo>
                  <a:lnTo>
                    <a:pt x="18" y="539"/>
                  </a:lnTo>
                  <a:lnTo>
                    <a:pt x="22" y="538"/>
                  </a:lnTo>
                  <a:lnTo>
                    <a:pt x="24" y="537"/>
                  </a:lnTo>
                  <a:lnTo>
                    <a:pt x="26" y="535"/>
                  </a:lnTo>
                  <a:lnTo>
                    <a:pt x="28" y="533"/>
                  </a:lnTo>
                  <a:lnTo>
                    <a:pt x="29" y="531"/>
                  </a:lnTo>
                  <a:lnTo>
                    <a:pt x="30" y="528"/>
                  </a:lnTo>
                  <a:lnTo>
                    <a:pt x="30" y="52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305"/>
            <p:cNvSpPr>
              <a:spLocks noEditPoints="1"/>
            </p:cNvSpPr>
            <p:nvPr/>
          </p:nvSpPr>
          <p:spPr bwMode="auto">
            <a:xfrm>
              <a:off x="11593513" y="782638"/>
              <a:ext cx="285750" cy="285750"/>
            </a:xfrm>
            <a:custGeom>
              <a:avLst/>
              <a:gdLst>
                <a:gd name="T0" fmla="*/ 559 w 900"/>
                <a:gd name="T1" fmla="*/ 179 h 900"/>
                <a:gd name="T2" fmla="*/ 866 w 900"/>
                <a:gd name="T3" fmla="*/ 838 h 900"/>
                <a:gd name="T4" fmla="*/ 570 w 900"/>
                <a:gd name="T5" fmla="*/ 869 h 900"/>
                <a:gd name="T6" fmla="*/ 390 w 900"/>
                <a:gd name="T7" fmla="*/ 330 h 900"/>
                <a:gd name="T8" fmla="*/ 570 w 900"/>
                <a:gd name="T9" fmla="*/ 869 h 900"/>
                <a:gd name="T10" fmla="*/ 180 w 900"/>
                <a:gd name="T11" fmla="*/ 29 h 900"/>
                <a:gd name="T12" fmla="*/ 360 w 900"/>
                <a:gd name="T13" fmla="*/ 315 h 900"/>
                <a:gd name="T14" fmla="*/ 180 w 900"/>
                <a:gd name="T15" fmla="*/ 869 h 900"/>
                <a:gd name="T16" fmla="*/ 30 w 900"/>
                <a:gd name="T17" fmla="*/ 150 h 900"/>
                <a:gd name="T18" fmla="*/ 150 w 900"/>
                <a:gd name="T19" fmla="*/ 869 h 900"/>
                <a:gd name="T20" fmla="*/ 30 w 900"/>
                <a:gd name="T21" fmla="*/ 150 h 900"/>
                <a:gd name="T22" fmla="*/ 660 w 900"/>
                <a:gd name="T23" fmla="*/ 128 h 900"/>
                <a:gd name="T24" fmla="*/ 656 w 900"/>
                <a:gd name="T25" fmla="*/ 122 h 900"/>
                <a:gd name="T26" fmla="*/ 652 w 900"/>
                <a:gd name="T27" fmla="*/ 119 h 900"/>
                <a:gd name="T28" fmla="*/ 646 w 900"/>
                <a:gd name="T29" fmla="*/ 118 h 900"/>
                <a:gd name="T30" fmla="*/ 640 w 900"/>
                <a:gd name="T31" fmla="*/ 118 h 900"/>
                <a:gd name="T32" fmla="*/ 532 w 900"/>
                <a:gd name="T33" fmla="*/ 157 h 900"/>
                <a:gd name="T34" fmla="*/ 528 w 900"/>
                <a:gd name="T35" fmla="*/ 161 h 900"/>
                <a:gd name="T36" fmla="*/ 526 w 900"/>
                <a:gd name="T37" fmla="*/ 165 h 900"/>
                <a:gd name="T38" fmla="*/ 525 w 900"/>
                <a:gd name="T39" fmla="*/ 172 h 900"/>
                <a:gd name="T40" fmla="*/ 568 w 900"/>
                <a:gd name="T41" fmla="*/ 300 h 900"/>
                <a:gd name="T42" fmla="*/ 390 w 900"/>
                <a:gd name="T43" fmla="*/ 15 h 900"/>
                <a:gd name="T44" fmla="*/ 389 w 900"/>
                <a:gd name="T45" fmla="*/ 9 h 900"/>
                <a:gd name="T46" fmla="*/ 386 w 900"/>
                <a:gd name="T47" fmla="*/ 5 h 900"/>
                <a:gd name="T48" fmla="*/ 381 w 900"/>
                <a:gd name="T49" fmla="*/ 2 h 900"/>
                <a:gd name="T50" fmla="*/ 375 w 900"/>
                <a:gd name="T51" fmla="*/ 0 h 900"/>
                <a:gd name="T52" fmla="*/ 162 w 900"/>
                <a:gd name="T53" fmla="*/ 1 h 900"/>
                <a:gd name="T54" fmla="*/ 156 w 900"/>
                <a:gd name="T55" fmla="*/ 3 h 900"/>
                <a:gd name="T56" fmla="*/ 153 w 900"/>
                <a:gd name="T57" fmla="*/ 7 h 900"/>
                <a:gd name="T58" fmla="*/ 151 w 900"/>
                <a:gd name="T59" fmla="*/ 12 h 900"/>
                <a:gd name="T60" fmla="*/ 150 w 900"/>
                <a:gd name="T61" fmla="*/ 120 h 900"/>
                <a:gd name="T62" fmla="*/ 12 w 900"/>
                <a:gd name="T63" fmla="*/ 120 h 900"/>
                <a:gd name="T64" fmla="*/ 7 w 900"/>
                <a:gd name="T65" fmla="*/ 122 h 900"/>
                <a:gd name="T66" fmla="*/ 3 w 900"/>
                <a:gd name="T67" fmla="*/ 127 h 900"/>
                <a:gd name="T68" fmla="*/ 0 w 900"/>
                <a:gd name="T69" fmla="*/ 132 h 900"/>
                <a:gd name="T70" fmla="*/ 0 w 900"/>
                <a:gd name="T71" fmla="*/ 885 h 900"/>
                <a:gd name="T72" fmla="*/ 1 w 900"/>
                <a:gd name="T73" fmla="*/ 891 h 900"/>
                <a:gd name="T74" fmla="*/ 5 w 900"/>
                <a:gd name="T75" fmla="*/ 895 h 900"/>
                <a:gd name="T76" fmla="*/ 9 w 900"/>
                <a:gd name="T77" fmla="*/ 898 h 900"/>
                <a:gd name="T78" fmla="*/ 15 w 900"/>
                <a:gd name="T79" fmla="*/ 900 h 900"/>
                <a:gd name="T80" fmla="*/ 375 w 900"/>
                <a:gd name="T81" fmla="*/ 900 h 900"/>
                <a:gd name="T82" fmla="*/ 588 w 900"/>
                <a:gd name="T83" fmla="*/ 899 h 900"/>
                <a:gd name="T84" fmla="*/ 593 w 900"/>
                <a:gd name="T85" fmla="*/ 897 h 900"/>
                <a:gd name="T86" fmla="*/ 598 w 900"/>
                <a:gd name="T87" fmla="*/ 893 h 900"/>
                <a:gd name="T88" fmla="*/ 600 w 900"/>
                <a:gd name="T89" fmla="*/ 887 h 900"/>
                <a:gd name="T90" fmla="*/ 600 w 900"/>
                <a:gd name="T91" fmla="*/ 396 h 900"/>
                <a:gd name="T92" fmla="*/ 768 w 900"/>
                <a:gd name="T93" fmla="*/ 893 h 900"/>
                <a:gd name="T94" fmla="*/ 771 w 900"/>
                <a:gd name="T95" fmla="*/ 897 h 900"/>
                <a:gd name="T96" fmla="*/ 777 w 900"/>
                <a:gd name="T97" fmla="*/ 899 h 900"/>
                <a:gd name="T98" fmla="*/ 782 w 900"/>
                <a:gd name="T99" fmla="*/ 899 h 900"/>
                <a:gd name="T100" fmla="*/ 890 w 900"/>
                <a:gd name="T101" fmla="*/ 862 h 900"/>
                <a:gd name="T102" fmla="*/ 897 w 900"/>
                <a:gd name="T103" fmla="*/ 856 h 900"/>
                <a:gd name="T104" fmla="*/ 900 w 900"/>
                <a:gd name="T105" fmla="*/ 848 h 900"/>
                <a:gd name="T106" fmla="*/ 899 w 900"/>
                <a:gd name="T107" fmla="*/ 84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0" h="900">
                  <a:moveTo>
                    <a:pt x="790" y="866"/>
                  </a:moveTo>
                  <a:lnTo>
                    <a:pt x="559" y="179"/>
                  </a:lnTo>
                  <a:lnTo>
                    <a:pt x="636" y="151"/>
                  </a:lnTo>
                  <a:lnTo>
                    <a:pt x="866" y="838"/>
                  </a:lnTo>
                  <a:lnTo>
                    <a:pt x="790" y="866"/>
                  </a:lnTo>
                  <a:close/>
                  <a:moveTo>
                    <a:pt x="570" y="869"/>
                  </a:moveTo>
                  <a:lnTo>
                    <a:pt x="390" y="869"/>
                  </a:lnTo>
                  <a:lnTo>
                    <a:pt x="390" y="330"/>
                  </a:lnTo>
                  <a:lnTo>
                    <a:pt x="570" y="330"/>
                  </a:lnTo>
                  <a:lnTo>
                    <a:pt x="570" y="869"/>
                  </a:lnTo>
                  <a:close/>
                  <a:moveTo>
                    <a:pt x="180" y="135"/>
                  </a:moveTo>
                  <a:lnTo>
                    <a:pt x="180" y="29"/>
                  </a:lnTo>
                  <a:lnTo>
                    <a:pt x="360" y="29"/>
                  </a:lnTo>
                  <a:lnTo>
                    <a:pt x="360" y="315"/>
                  </a:lnTo>
                  <a:lnTo>
                    <a:pt x="360" y="869"/>
                  </a:lnTo>
                  <a:lnTo>
                    <a:pt x="180" y="869"/>
                  </a:lnTo>
                  <a:lnTo>
                    <a:pt x="180" y="135"/>
                  </a:lnTo>
                  <a:close/>
                  <a:moveTo>
                    <a:pt x="30" y="150"/>
                  </a:moveTo>
                  <a:lnTo>
                    <a:pt x="150" y="150"/>
                  </a:lnTo>
                  <a:lnTo>
                    <a:pt x="150" y="869"/>
                  </a:lnTo>
                  <a:lnTo>
                    <a:pt x="30" y="869"/>
                  </a:lnTo>
                  <a:lnTo>
                    <a:pt x="30" y="150"/>
                  </a:lnTo>
                  <a:close/>
                  <a:moveTo>
                    <a:pt x="899" y="843"/>
                  </a:moveTo>
                  <a:lnTo>
                    <a:pt x="660" y="128"/>
                  </a:lnTo>
                  <a:lnTo>
                    <a:pt x="659" y="125"/>
                  </a:lnTo>
                  <a:lnTo>
                    <a:pt x="656" y="122"/>
                  </a:lnTo>
                  <a:lnTo>
                    <a:pt x="654" y="120"/>
                  </a:lnTo>
                  <a:lnTo>
                    <a:pt x="652" y="119"/>
                  </a:lnTo>
                  <a:lnTo>
                    <a:pt x="649" y="118"/>
                  </a:lnTo>
                  <a:lnTo>
                    <a:pt x="646" y="118"/>
                  </a:lnTo>
                  <a:lnTo>
                    <a:pt x="643" y="118"/>
                  </a:lnTo>
                  <a:lnTo>
                    <a:pt x="640" y="118"/>
                  </a:lnTo>
                  <a:lnTo>
                    <a:pt x="536" y="156"/>
                  </a:lnTo>
                  <a:lnTo>
                    <a:pt x="532" y="157"/>
                  </a:lnTo>
                  <a:lnTo>
                    <a:pt x="530" y="159"/>
                  </a:lnTo>
                  <a:lnTo>
                    <a:pt x="528" y="161"/>
                  </a:lnTo>
                  <a:lnTo>
                    <a:pt x="527" y="163"/>
                  </a:lnTo>
                  <a:lnTo>
                    <a:pt x="526" y="165"/>
                  </a:lnTo>
                  <a:lnTo>
                    <a:pt x="525" y="168"/>
                  </a:lnTo>
                  <a:lnTo>
                    <a:pt x="525" y="172"/>
                  </a:lnTo>
                  <a:lnTo>
                    <a:pt x="526" y="175"/>
                  </a:lnTo>
                  <a:lnTo>
                    <a:pt x="568" y="300"/>
                  </a:lnTo>
                  <a:lnTo>
                    <a:pt x="390" y="300"/>
                  </a:lnTo>
                  <a:lnTo>
                    <a:pt x="390" y="15"/>
                  </a:lnTo>
                  <a:lnTo>
                    <a:pt x="390" y="12"/>
                  </a:lnTo>
                  <a:lnTo>
                    <a:pt x="389" y="9"/>
                  </a:lnTo>
                  <a:lnTo>
                    <a:pt x="387" y="7"/>
                  </a:lnTo>
                  <a:lnTo>
                    <a:pt x="386" y="5"/>
                  </a:lnTo>
                  <a:lnTo>
                    <a:pt x="384" y="3"/>
                  </a:lnTo>
                  <a:lnTo>
                    <a:pt x="381" y="2"/>
                  </a:lnTo>
                  <a:lnTo>
                    <a:pt x="379" y="1"/>
                  </a:lnTo>
                  <a:lnTo>
                    <a:pt x="375" y="0"/>
                  </a:lnTo>
                  <a:lnTo>
                    <a:pt x="165" y="0"/>
                  </a:lnTo>
                  <a:lnTo>
                    <a:pt x="162" y="1"/>
                  </a:lnTo>
                  <a:lnTo>
                    <a:pt x="160" y="2"/>
                  </a:lnTo>
                  <a:lnTo>
                    <a:pt x="156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9" y="121"/>
                  </a:lnTo>
                  <a:lnTo>
                    <a:pt x="7" y="122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88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3" y="893"/>
                  </a:lnTo>
                  <a:lnTo>
                    <a:pt x="5" y="895"/>
                  </a:lnTo>
                  <a:lnTo>
                    <a:pt x="7" y="897"/>
                  </a:lnTo>
                  <a:lnTo>
                    <a:pt x="9" y="898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165" y="900"/>
                  </a:lnTo>
                  <a:lnTo>
                    <a:pt x="375" y="900"/>
                  </a:lnTo>
                  <a:lnTo>
                    <a:pt x="585" y="900"/>
                  </a:lnTo>
                  <a:lnTo>
                    <a:pt x="588" y="899"/>
                  </a:lnTo>
                  <a:lnTo>
                    <a:pt x="591" y="898"/>
                  </a:lnTo>
                  <a:lnTo>
                    <a:pt x="593" y="897"/>
                  </a:lnTo>
                  <a:lnTo>
                    <a:pt x="595" y="895"/>
                  </a:lnTo>
                  <a:lnTo>
                    <a:pt x="598" y="893"/>
                  </a:lnTo>
                  <a:lnTo>
                    <a:pt x="599" y="891"/>
                  </a:lnTo>
                  <a:lnTo>
                    <a:pt x="600" y="887"/>
                  </a:lnTo>
                  <a:lnTo>
                    <a:pt x="600" y="885"/>
                  </a:lnTo>
                  <a:lnTo>
                    <a:pt x="600" y="396"/>
                  </a:lnTo>
                  <a:lnTo>
                    <a:pt x="765" y="890"/>
                  </a:lnTo>
                  <a:lnTo>
                    <a:pt x="768" y="893"/>
                  </a:lnTo>
                  <a:lnTo>
                    <a:pt x="769" y="895"/>
                  </a:lnTo>
                  <a:lnTo>
                    <a:pt x="771" y="897"/>
                  </a:lnTo>
                  <a:lnTo>
                    <a:pt x="774" y="898"/>
                  </a:lnTo>
                  <a:lnTo>
                    <a:pt x="777" y="899"/>
                  </a:lnTo>
                  <a:lnTo>
                    <a:pt x="780" y="900"/>
                  </a:lnTo>
                  <a:lnTo>
                    <a:pt x="782" y="899"/>
                  </a:lnTo>
                  <a:lnTo>
                    <a:pt x="785" y="899"/>
                  </a:lnTo>
                  <a:lnTo>
                    <a:pt x="890" y="862"/>
                  </a:lnTo>
                  <a:lnTo>
                    <a:pt x="895" y="860"/>
                  </a:lnTo>
                  <a:lnTo>
                    <a:pt x="897" y="856"/>
                  </a:lnTo>
                  <a:lnTo>
                    <a:pt x="899" y="852"/>
                  </a:lnTo>
                  <a:lnTo>
                    <a:pt x="900" y="848"/>
                  </a:lnTo>
                  <a:lnTo>
                    <a:pt x="900" y="846"/>
                  </a:lnTo>
                  <a:lnTo>
                    <a:pt x="899" y="844"/>
                  </a:lnTo>
                  <a:lnTo>
                    <a:pt x="899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806078" y="1210297"/>
            <a:ext cx="579845" cy="583066"/>
            <a:chOff x="10455275" y="2498725"/>
            <a:chExt cx="285750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06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038600" y="1070945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38600" y="5230082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132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2132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639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639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O que é o Ghost?</a:t>
            </a:r>
            <a:endParaRPr lang="en-US" altLang="en-US" sz="3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 flipV="1">
            <a:off x="6096000" y="1396487"/>
            <a:ext cx="0" cy="444602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688114" y="2211613"/>
            <a:ext cx="2815772" cy="281577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5428343" y="2951842"/>
            <a:ext cx="1335314" cy="1335314"/>
            <a:chOff x="1454150" y="3662363"/>
            <a:chExt cx="287338" cy="287337"/>
          </a:xfrm>
          <a:solidFill>
            <a:schemeClr val="accent1"/>
          </a:solidFill>
        </p:grpSpPr>
        <p:sp>
          <p:nvSpPr>
            <p:cNvPr id="13" name="Freeform 1627"/>
            <p:cNvSpPr>
              <a:spLocks noEditPoints="1"/>
            </p:cNvSpPr>
            <p:nvPr/>
          </p:nvSpPr>
          <p:spPr bwMode="auto">
            <a:xfrm>
              <a:off x="1454150" y="3662363"/>
              <a:ext cx="287338" cy="115888"/>
            </a:xfrm>
            <a:custGeom>
              <a:avLst/>
              <a:gdLst>
                <a:gd name="T0" fmla="*/ 181 w 905"/>
                <a:gd name="T1" fmla="*/ 60 h 362"/>
                <a:gd name="T2" fmla="*/ 188 w 905"/>
                <a:gd name="T3" fmla="*/ 44 h 362"/>
                <a:gd name="T4" fmla="*/ 209 w 905"/>
                <a:gd name="T5" fmla="*/ 32 h 362"/>
                <a:gd name="T6" fmla="*/ 680 w 905"/>
                <a:gd name="T7" fmla="*/ 30 h 362"/>
                <a:gd name="T8" fmla="*/ 704 w 905"/>
                <a:gd name="T9" fmla="*/ 36 h 362"/>
                <a:gd name="T10" fmla="*/ 720 w 905"/>
                <a:gd name="T11" fmla="*/ 49 h 362"/>
                <a:gd name="T12" fmla="*/ 724 w 905"/>
                <a:gd name="T13" fmla="*/ 105 h 362"/>
                <a:gd name="T14" fmla="*/ 875 w 905"/>
                <a:gd name="T15" fmla="*/ 105 h 362"/>
                <a:gd name="T16" fmla="*/ 874 w 905"/>
                <a:gd name="T17" fmla="*/ 70 h 362"/>
                <a:gd name="T18" fmla="*/ 869 w 905"/>
                <a:gd name="T19" fmla="*/ 63 h 362"/>
                <a:gd name="T20" fmla="*/ 860 w 905"/>
                <a:gd name="T21" fmla="*/ 60 h 362"/>
                <a:gd name="T22" fmla="*/ 852 w 905"/>
                <a:gd name="T23" fmla="*/ 63 h 362"/>
                <a:gd name="T24" fmla="*/ 847 w 905"/>
                <a:gd name="T25" fmla="*/ 70 h 362"/>
                <a:gd name="T26" fmla="*/ 845 w 905"/>
                <a:gd name="T27" fmla="*/ 90 h 362"/>
                <a:gd name="T28" fmla="*/ 754 w 905"/>
                <a:gd name="T29" fmla="*/ 55 h 362"/>
                <a:gd name="T30" fmla="*/ 748 w 905"/>
                <a:gd name="T31" fmla="*/ 37 h 362"/>
                <a:gd name="T32" fmla="*/ 737 w 905"/>
                <a:gd name="T33" fmla="*/ 23 h 362"/>
                <a:gd name="T34" fmla="*/ 722 w 905"/>
                <a:gd name="T35" fmla="*/ 10 h 362"/>
                <a:gd name="T36" fmla="*/ 702 w 905"/>
                <a:gd name="T37" fmla="*/ 3 h 362"/>
                <a:gd name="T38" fmla="*/ 678 w 905"/>
                <a:gd name="T39" fmla="*/ 0 h 362"/>
                <a:gd name="T40" fmla="*/ 212 w 905"/>
                <a:gd name="T41" fmla="*/ 1 h 362"/>
                <a:gd name="T42" fmla="*/ 191 w 905"/>
                <a:gd name="T43" fmla="*/ 7 h 362"/>
                <a:gd name="T44" fmla="*/ 173 w 905"/>
                <a:gd name="T45" fmla="*/ 18 h 362"/>
                <a:gd name="T46" fmla="*/ 160 w 905"/>
                <a:gd name="T47" fmla="*/ 31 h 362"/>
                <a:gd name="T48" fmla="*/ 152 w 905"/>
                <a:gd name="T49" fmla="*/ 48 h 362"/>
                <a:gd name="T50" fmla="*/ 151 w 905"/>
                <a:gd name="T51" fmla="*/ 90 h 362"/>
                <a:gd name="T52" fmla="*/ 60 w 905"/>
                <a:gd name="T53" fmla="*/ 72 h 362"/>
                <a:gd name="T54" fmla="*/ 56 w 905"/>
                <a:gd name="T55" fmla="*/ 65 h 362"/>
                <a:gd name="T56" fmla="*/ 48 w 905"/>
                <a:gd name="T57" fmla="*/ 61 h 362"/>
                <a:gd name="T58" fmla="*/ 39 w 905"/>
                <a:gd name="T59" fmla="*/ 61 h 362"/>
                <a:gd name="T60" fmla="*/ 32 w 905"/>
                <a:gd name="T61" fmla="*/ 67 h 362"/>
                <a:gd name="T62" fmla="*/ 30 w 905"/>
                <a:gd name="T63" fmla="*/ 76 h 362"/>
                <a:gd name="T64" fmla="*/ 15 w 905"/>
                <a:gd name="T65" fmla="*/ 181 h 362"/>
                <a:gd name="T66" fmla="*/ 7 w 905"/>
                <a:gd name="T67" fmla="*/ 184 h 362"/>
                <a:gd name="T68" fmla="*/ 2 w 905"/>
                <a:gd name="T69" fmla="*/ 191 h 362"/>
                <a:gd name="T70" fmla="*/ 0 w 905"/>
                <a:gd name="T71" fmla="*/ 200 h 362"/>
                <a:gd name="T72" fmla="*/ 5 w 905"/>
                <a:gd name="T73" fmla="*/ 207 h 362"/>
                <a:gd name="T74" fmla="*/ 13 w 905"/>
                <a:gd name="T75" fmla="*/ 211 h 362"/>
                <a:gd name="T76" fmla="*/ 30 w 905"/>
                <a:gd name="T77" fmla="*/ 317 h 362"/>
                <a:gd name="T78" fmla="*/ 31 w 905"/>
                <a:gd name="T79" fmla="*/ 353 h 362"/>
                <a:gd name="T80" fmla="*/ 37 w 905"/>
                <a:gd name="T81" fmla="*/ 360 h 362"/>
                <a:gd name="T82" fmla="*/ 46 w 905"/>
                <a:gd name="T83" fmla="*/ 362 h 362"/>
                <a:gd name="T84" fmla="*/ 53 w 905"/>
                <a:gd name="T85" fmla="*/ 360 h 362"/>
                <a:gd name="T86" fmla="*/ 59 w 905"/>
                <a:gd name="T87" fmla="*/ 353 h 362"/>
                <a:gd name="T88" fmla="*/ 60 w 905"/>
                <a:gd name="T89" fmla="*/ 332 h 362"/>
                <a:gd name="T90" fmla="*/ 845 w 905"/>
                <a:gd name="T91" fmla="*/ 332 h 362"/>
                <a:gd name="T92" fmla="*/ 847 w 905"/>
                <a:gd name="T93" fmla="*/ 353 h 362"/>
                <a:gd name="T94" fmla="*/ 852 w 905"/>
                <a:gd name="T95" fmla="*/ 360 h 362"/>
                <a:gd name="T96" fmla="*/ 860 w 905"/>
                <a:gd name="T97" fmla="*/ 362 h 362"/>
                <a:gd name="T98" fmla="*/ 869 w 905"/>
                <a:gd name="T99" fmla="*/ 360 h 362"/>
                <a:gd name="T100" fmla="*/ 874 w 905"/>
                <a:gd name="T101" fmla="*/ 353 h 362"/>
                <a:gd name="T102" fmla="*/ 875 w 905"/>
                <a:gd name="T103" fmla="*/ 317 h 362"/>
                <a:gd name="T104" fmla="*/ 893 w 905"/>
                <a:gd name="T105" fmla="*/ 211 h 362"/>
                <a:gd name="T106" fmla="*/ 901 w 905"/>
                <a:gd name="T107" fmla="*/ 207 h 362"/>
                <a:gd name="T108" fmla="*/ 905 w 905"/>
                <a:gd name="T109" fmla="*/ 200 h 362"/>
                <a:gd name="T110" fmla="*/ 904 w 905"/>
                <a:gd name="T111" fmla="*/ 191 h 362"/>
                <a:gd name="T112" fmla="*/ 899 w 905"/>
                <a:gd name="T113" fmla="*/ 184 h 362"/>
                <a:gd name="T114" fmla="*/ 890 w 905"/>
                <a:gd name="T115" fmla="*/ 18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5" h="362">
                  <a:moveTo>
                    <a:pt x="724" y="105"/>
                  </a:moveTo>
                  <a:lnTo>
                    <a:pt x="181" y="105"/>
                  </a:lnTo>
                  <a:lnTo>
                    <a:pt x="181" y="60"/>
                  </a:lnTo>
                  <a:lnTo>
                    <a:pt x="182" y="55"/>
                  </a:lnTo>
                  <a:lnTo>
                    <a:pt x="185" y="49"/>
                  </a:lnTo>
                  <a:lnTo>
                    <a:pt x="188" y="44"/>
                  </a:lnTo>
                  <a:lnTo>
                    <a:pt x="194" y="39"/>
                  </a:lnTo>
                  <a:lnTo>
                    <a:pt x="202" y="36"/>
                  </a:lnTo>
                  <a:lnTo>
                    <a:pt x="209" y="32"/>
                  </a:lnTo>
                  <a:lnTo>
                    <a:pt x="217" y="31"/>
                  </a:lnTo>
                  <a:lnTo>
                    <a:pt x="226" y="30"/>
                  </a:lnTo>
                  <a:lnTo>
                    <a:pt x="680" y="30"/>
                  </a:lnTo>
                  <a:lnTo>
                    <a:pt x="688" y="30"/>
                  </a:lnTo>
                  <a:lnTo>
                    <a:pt x="696" y="32"/>
                  </a:lnTo>
                  <a:lnTo>
                    <a:pt x="704" y="36"/>
                  </a:lnTo>
                  <a:lnTo>
                    <a:pt x="711" y="39"/>
                  </a:lnTo>
                  <a:lnTo>
                    <a:pt x="716" y="44"/>
                  </a:lnTo>
                  <a:lnTo>
                    <a:pt x="720" y="49"/>
                  </a:lnTo>
                  <a:lnTo>
                    <a:pt x="724" y="55"/>
                  </a:lnTo>
                  <a:lnTo>
                    <a:pt x="724" y="60"/>
                  </a:lnTo>
                  <a:lnTo>
                    <a:pt x="724" y="105"/>
                  </a:lnTo>
                  <a:close/>
                  <a:moveTo>
                    <a:pt x="890" y="181"/>
                  </a:moveTo>
                  <a:lnTo>
                    <a:pt x="875" y="181"/>
                  </a:lnTo>
                  <a:lnTo>
                    <a:pt x="875" y="105"/>
                  </a:lnTo>
                  <a:lnTo>
                    <a:pt x="875" y="76"/>
                  </a:lnTo>
                  <a:lnTo>
                    <a:pt x="875" y="72"/>
                  </a:lnTo>
                  <a:lnTo>
                    <a:pt x="874" y="70"/>
                  </a:lnTo>
                  <a:lnTo>
                    <a:pt x="872" y="67"/>
                  </a:lnTo>
                  <a:lnTo>
                    <a:pt x="871" y="65"/>
                  </a:lnTo>
                  <a:lnTo>
                    <a:pt x="869" y="63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0" y="60"/>
                  </a:lnTo>
                  <a:lnTo>
                    <a:pt x="857" y="61"/>
                  </a:lnTo>
                  <a:lnTo>
                    <a:pt x="854" y="61"/>
                  </a:lnTo>
                  <a:lnTo>
                    <a:pt x="852" y="63"/>
                  </a:lnTo>
                  <a:lnTo>
                    <a:pt x="850" y="65"/>
                  </a:lnTo>
                  <a:lnTo>
                    <a:pt x="848" y="67"/>
                  </a:lnTo>
                  <a:lnTo>
                    <a:pt x="847" y="70"/>
                  </a:lnTo>
                  <a:lnTo>
                    <a:pt x="845" y="72"/>
                  </a:lnTo>
                  <a:lnTo>
                    <a:pt x="845" y="76"/>
                  </a:lnTo>
                  <a:lnTo>
                    <a:pt x="845" y="90"/>
                  </a:lnTo>
                  <a:lnTo>
                    <a:pt x="755" y="90"/>
                  </a:lnTo>
                  <a:lnTo>
                    <a:pt x="755" y="60"/>
                  </a:lnTo>
                  <a:lnTo>
                    <a:pt x="754" y="55"/>
                  </a:lnTo>
                  <a:lnTo>
                    <a:pt x="753" y="48"/>
                  </a:lnTo>
                  <a:lnTo>
                    <a:pt x="751" y="42"/>
                  </a:lnTo>
                  <a:lnTo>
                    <a:pt x="748" y="37"/>
                  </a:lnTo>
                  <a:lnTo>
                    <a:pt x="745" y="31"/>
                  </a:lnTo>
                  <a:lnTo>
                    <a:pt x="741" y="27"/>
                  </a:lnTo>
                  <a:lnTo>
                    <a:pt x="737" y="23"/>
                  </a:lnTo>
                  <a:lnTo>
                    <a:pt x="733" y="18"/>
                  </a:lnTo>
                  <a:lnTo>
                    <a:pt x="727" y="14"/>
                  </a:lnTo>
                  <a:lnTo>
                    <a:pt x="722" y="10"/>
                  </a:lnTo>
                  <a:lnTo>
                    <a:pt x="715" y="7"/>
                  </a:lnTo>
                  <a:lnTo>
                    <a:pt x="708" y="5"/>
                  </a:lnTo>
                  <a:lnTo>
                    <a:pt x="702" y="3"/>
                  </a:lnTo>
                  <a:lnTo>
                    <a:pt x="694" y="1"/>
                  </a:lnTo>
                  <a:lnTo>
                    <a:pt x="686" y="0"/>
                  </a:lnTo>
                  <a:lnTo>
                    <a:pt x="678" y="0"/>
                  </a:lnTo>
                  <a:lnTo>
                    <a:pt x="226" y="0"/>
                  </a:lnTo>
                  <a:lnTo>
                    <a:pt x="218" y="0"/>
                  </a:lnTo>
                  <a:lnTo>
                    <a:pt x="212" y="1"/>
                  </a:lnTo>
                  <a:lnTo>
                    <a:pt x="204" y="3"/>
                  </a:lnTo>
                  <a:lnTo>
                    <a:pt x="197" y="5"/>
                  </a:lnTo>
                  <a:lnTo>
                    <a:pt x="191" y="7"/>
                  </a:lnTo>
                  <a:lnTo>
                    <a:pt x="184" y="10"/>
                  </a:lnTo>
                  <a:lnTo>
                    <a:pt x="178" y="14"/>
                  </a:lnTo>
                  <a:lnTo>
                    <a:pt x="173" y="18"/>
                  </a:lnTo>
                  <a:lnTo>
                    <a:pt x="169" y="23"/>
                  </a:lnTo>
                  <a:lnTo>
                    <a:pt x="164" y="27"/>
                  </a:lnTo>
                  <a:lnTo>
                    <a:pt x="160" y="31"/>
                  </a:lnTo>
                  <a:lnTo>
                    <a:pt x="156" y="37"/>
                  </a:lnTo>
                  <a:lnTo>
                    <a:pt x="154" y="42"/>
                  </a:lnTo>
                  <a:lnTo>
                    <a:pt x="152" y="48"/>
                  </a:lnTo>
                  <a:lnTo>
                    <a:pt x="151" y="55"/>
                  </a:lnTo>
                  <a:lnTo>
                    <a:pt x="151" y="60"/>
                  </a:lnTo>
                  <a:lnTo>
                    <a:pt x="151" y="90"/>
                  </a:lnTo>
                  <a:lnTo>
                    <a:pt x="60" y="9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9" y="70"/>
                  </a:lnTo>
                  <a:lnTo>
                    <a:pt x="58" y="67"/>
                  </a:lnTo>
                  <a:lnTo>
                    <a:pt x="56" y="65"/>
                  </a:lnTo>
                  <a:lnTo>
                    <a:pt x="53" y="63"/>
                  </a:lnTo>
                  <a:lnTo>
                    <a:pt x="51" y="61"/>
                  </a:lnTo>
                  <a:lnTo>
                    <a:pt x="48" y="61"/>
                  </a:lnTo>
                  <a:lnTo>
                    <a:pt x="46" y="60"/>
                  </a:lnTo>
                  <a:lnTo>
                    <a:pt x="42" y="61"/>
                  </a:lnTo>
                  <a:lnTo>
                    <a:pt x="39" y="61"/>
                  </a:lnTo>
                  <a:lnTo>
                    <a:pt x="37" y="63"/>
                  </a:lnTo>
                  <a:lnTo>
                    <a:pt x="35" y="65"/>
                  </a:lnTo>
                  <a:lnTo>
                    <a:pt x="32" y="67"/>
                  </a:lnTo>
                  <a:lnTo>
                    <a:pt x="31" y="70"/>
                  </a:lnTo>
                  <a:lnTo>
                    <a:pt x="30" y="72"/>
                  </a:lnTo>
                  <a:lnTo>
                    <a:pt x="30" y="76"/>
                  </a:lnTo>
                  <a:lnTo>
                    <a:pt x="30" y="105"/>
                  </a:lnTo>
                  <a:lnTo>
                    <a:pt x="30" y="181"/>
                  </a:lnTo>
                  <a:lnTo>
                    <a:pt x="15" y="181"/>
                  </a:lnTo>
                  <a:lnTo>
                    <a:pt x="13" y="182"/>
                  </a:lnTo>
                  <a:lnTo>
                    <a:pt x="9" y="182"/>
                  </a:lnTo>
                  <a:lnTo>
                    <a:pt x="7" y="184"/>
                  </a:lnTo>
                  <a:lnTo>
                    <a:pt x="5" y="185"/>
                  </a:lnTo>
                  <a:lnTo>
                    <a:pt x="3" y="187"/>
                  </a:lnTo>
                  <a:lnTo>
                    <a:pt x="2" y="191"/>
                  </a:lnTo>
                  <a:lnTo>
                    <a:pt x="0" y="193"/>
                  </a:lnTo>
                  <a:lnTo>
                    <a:pt x="0" y="196"/>
                  </a:lnTo>
                  <a:lnTo>
                    <a:pt x="0" y="200"/>
                  </a:lnTo>
                  <a:lnTo>
                    <a:pt x="2" y="202"/>
                  </a:lnTo>
                  <a:lnTo>
                    <a:pt x="3" y="205"/>
                  </a:lnTo>
                  <a:lnTo>
                    <a:pt x="5" y="207"/>
                  </a:lnTo>
                  <a:lnTo>
                    <a:pt x="7" y="208"/>
                  </a:lnTo>
                  <a:lnTo>
                    <a:pt x="9" y="211"/>
                  </a:lnTo>
                  <a:lnTo>
                    <a:pt x="13" y="211"/>
                  </a:lnTo>
                  <a:lnTo>
                    <a:pt x="15" y="212"/>
                  </a:lnTo>
                  <a:lnTo>
                    <a:pt x="30" y="212"/>
                  </a:lnTo>
                  <a:lnTo>
                    <a:pt x="30" y="317"/>
                  </a:lnTo>
                  <a:lnTo>
                    <a:pt x="30" y="347"/>
                  </a:lnTo>
                  <a:lnTo>
                    <a:pt x="30" y="350"/>
                  </a:lnTo>
                  <a:lnTo>
                    <a:pt x="31" y="353"/>
                  </a:lnTo>
                  <a:lnTo>
                    <a:pt x="32" y="355"/>
                  </a:lnTo>
                  <a:lnTo>
                    <a:pt x="35" y="358"/>
                  </a:lnTo>
                  <a:lnTo>
                    <a:pt x="37" y="360"/>
                  </a:lnTo>
                  <a:lnTo>
                    <a:pt x="39" y="361"/>
                  </a:lnTo>
                  <a:lnTo>
                    <a:pt x="42" y="362"/>
                  </a:lnTo>
                  <a:lnTo>
                    <a:pt x="46" y="362"/>
                  </a:lnTo>
                  <a:lnTo>
                    <a:pt x="48" y="362"/>
                  </a:lnTo>
                  <a:lnTo>
                    <a:pt x="51" y="361"/>
                  </a:lnTo>
                  <a:lnTo>
                    <a:pt x="53" y="360"/>
                  </a:lnTo>
                  <a:lnTo>
                    <a:pt x="56" y="358"/>
                  </a:lnTo>
                  <a:lnTo>
                    <a:pt x="58" y="355"/>
                  </a:lnTo>
                  <a:lnTo>
                    <a:pt x="59" y="353"/>
                  </a:lnTo>
                  <a:lnTo>
                    <a:pt x="60" y="350"/>
                  </a:lnTo>
                  <a:lnTo>
                    <a:pt x="60" y="347"/>
                  </a:lnTo>
                  <a:lnTo>
                    <a:pt x="60" y="332"/>
                  </a:lnTo>
                  <a:lnTo>
                    <a:pt x="166" y="332"/>
                  </a:lnTo>
                  <a:lnTo>
                    <a:pt x="739" y="332"/>
                  </a:lnTo>
                  <a:lnTo>
                    <a:pt x="845" y="332"/>
                  </a:lnTo>
                  <a:lnTo>
                    <a:pt x="845" y="347"/>
                  </a:lnTo>
                  <a:lnTo>
                    <a:pt x="845" y="350"/>
                  </a:lnTo>
                  <a:lnTo>
                    <a:pt x="847" y="353"/>
                  </a:lnTo>
                  <a:lnTo>
                    <a:pt x="848" y="355"/>
                  </a:lnTo>
                  <a:lnTo>
                    <a:pt x="850" y="358"/>
                  </a:lnTo>
                  <a:lnTo>
                    <a:pt x="852" y="360"/>
                  </a:lnTo>
                  <a:lnTo>
                    <a:pt x="854" y="361"/>
                  </a:lnTo>
                  <a:lnTo>
                    <a:pt x="857" y="362"/>
                  </a:lnTo>
                  <a:lnTo>
                    <a:pt x="860" y="362"/>
                  </a:lnTo>
                  <a:lnTo>
                    <a:pt x="863" y="362"/>
                  </a:lnTo>
                  <a:lnTo>
                    <a:pt x="865" y="361"/>
                  </a:lnTo>
                  <a:lnTo>
                    <a:pt x="869" y="360"/>
                  </a:lnTo>
                  <a:lnTo>
                    <a:pt x="871" y="358"/>
                  </a:lnTo>
                  <a:lnTo>
                    <a:pt x="872" y="355"/>
                  </a:lnTo>
                  <a:lnTo>
                    <a:pt x="874" y="353"/>
                  </a:lnTo>
                  <a:lnTo>
                    <a:pt x="875" y="350"/>
                  </a:lnTo>
                  <a:lnTo>
                    <a:pt x="875" y="347"/>
                  </a:lnTo>
                  <a:lnTo>
                    <a:pt x="875" y="317"/>
                  </a:lnTo>
                  <a:lnTo>
                    <a:pt x="875" y="212"/>
                  </a:lnTo>
                  <a:lnTo>
                    <a:pt x="890" y="212"/>
                  </a:lnTo>
                  <a:lnTo>
                    <a:pt x="893" y="211"/>
                  </a:lnTo>
                  <a:lnTo>
                    <a:pt x="896" y="211"/>
                  </a:lnTo>
                  <a:lnTo>
                    <a:pt x="899" y="208"/>
                  </a:lnTo>
                  <a:lnTo>
                    <a:pt x="901" y="207"/>
                  </a:lnTo>
                  <a:lnTo>
                    <a:pt x="903" y="205"/>
                  </a:lnTo>
                  <a:lnTo>
                    <a:pt x="904" y="202"/>
                  </a:lnTo>
                  <a:lnTo>
                    <a:pt x="905" y="200"/>
                  </a:lnTo>
                  <a:lnTo>
                    <a:pt x="905" y="196"/>
                  </a:lnTo>
                  <a:lnTo>
                    <a:pt x="905" y="193"/>
                  </a:lnTo>
                  <a:lnTo>
                    <a:pt x="904" y="191"/>
                  </a:lnTo>
                  <a:lnTo>
                    <a:pt x="903" y="187"/>
                  </a:lnTo>
                  <a:lnTo>
                    <a:pt x="901" y="185"/>
                  </a:lnTo>
                  <a:lnTo>
                    <a:pt x="899" y="184"/>
                  </a:lnTo>
                  <a:lnTo>
                    <a:pt x="896" y="182"/>
                  </a:lnTo>
                  <a:lnTo>
                    <a:pt x="893" y="182"/>
                  </a:lnTo>
                  <a:lnTo>
                    <a:pt x="89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" name="Freeform 1628"/>
            <p:cNvSpPr>
              <a:spLocks noEditPoints="1"/>
            </p:cNvSpPr>
            <p:nvPr/>
          </p:nvSpPr>
          <p:spPr bwMode="auto">
            <a:xfrm>
              <a:off x="1501775" y="3873500"/>
              <a:ext cx="192088" cy="76200"/>
            </a:xfrm>
            <a:custGeom>
              <a:avLst/>
              <a:gdLst>
                <a:gd name="T0" fmla="*/ 91 w 604"/>
                <a:gd name="T1" fmla="*/ 60 h 241"/>
                <a:gd name="T2" fmla="*/ 61 w 604"/>
                <a:gd name="T3" fmla="*/ 91 h 241"/>
                <a:gd name="T4" fmla="*/ 120 w 604"/>
                <a:gd name="T5" fmla="*/ 151 h 241"/>
                <a:gd name="T6" fmla="*/ 91 w 604"/>
                <a:gd name="T7" fmla="*/ 121 h 241"/>
                <a:gd name="T8" fmla="*/ 120 w 604"/>
                <a:gd name="T9" fmla="*/ 151 h 241"/>
                <a:gd name="T10" fmla="*/ 150 w 604"/>
                <a:gd name="T11" fmla="*/ 60 h 241"/>
                <a:gd name="T12" fmla="*/ 120 w 604"/>
                <a:gd name="T13" fmla="*/ 91 h 241"/>
                <a:gd name="T14" fmla="*/ 181 w 604"/>
                <a:gd name="T15" fmla="*/ 151 h 241"/>
                <a:gd name="T16" fmla="*/ 150 w 604"/>
                <a:gd name="T17" fmla="*/ 121 h 241"/>
                <a:gd name="T18" fmla="*/ 181 w 604"/>
                <a:gd name="T19" fmla="*/ 151 h 241"/>
                <a:gd name="T20" fmla="*/ 211 w 604"/>
                <a:gd name="T21" fmla="*/ 60 h 241"/>
                <a:gd name="T22" fmla="*/ 181 w 604"/>
                <a:gd name="T23" fmla="*/ 91 h 241"/>
                <a:gd name="T24" fmla="*/ 241 w 604"/>
                <a:gd name="T25" fmla="*/ 60 h 241"/>
                <a:gd name="T26" fmla="*/ 272 w 604"/>
                <a:gd name="T27" fmla="*/ 91 h 241"/>
                <a:gd name="T28" fmla="*/ 241 w 604"/>
                <a:gd name="T29" fmla="*/ 60 h 241"/>
                <a:gd name="T30" fmla="*/ 362 w 604"/>
                <a:gd name="T31" fmla="*/ 60 h 241"/>
                <a:gd name="T32" fmla="*/ 332 w 604"/>
                <a:gd name="T33" fmla="*/ 91 h 241"/>
                <a:gd name="T34" fmla="*/ 393 w 604"/>
                <a:gd name="T35" fmla="*/ 151 h 241"/>
                <a:gd name="T36" fmla="*/ 211 w 604"/>
                <a:gd name="T37" fmla="*/ 121 h 241"/>
                <a:gd name="T38" fmla="*/ 393 w 604"/>
                <a:gd name="T39" fmla="*/ 151 h 241"/>
                <a:gd name="T40" fmla="*/ 422 w 604"/>
                <a:gd name="T41" fmla="*/ 60 h 241"/>
                <a:gd name="T42" fmla="*/ 393 w 604"/>
                <a:gd name="T43" fmla="*/ 91 h 241"/>
                <a:gd name="T44" fmla="*/ 452 w 604"/>
                <a:gd name="T45" fmla="*/ 151 h 241"/>
                <a:gd name="T46" fmla="*/ 422 w 604"/>
                <a:gd name="T47" fmla="*/ 121 h 241"/>
                <a:gd name="T48" fmla="*/ 452 w 604"/>
                <a:gd name="T49" fmla="*/ 151 h 241"/>
                <a:gd name="T50" fmla="*/ 483 w 604"/>
                <a:gd name="T51" fmla="*/ 60 h 241"/>
                <a:gd name="T52" fmla="*/ 452 w 604"/>
                <a:gd name="T53" fmla="*/ 91 h 241"/>
                <a:gd name="T54" fmla="*/ 513 w 604"/>
                <a:gd name="T55" fmla="*/ 151 h 241"/>
                <a:gd name="T56" fmla="*/ 483 w 604"/>
                <a:gd name="T57" fmla="*/ 121 h 241"/>
                <a:gd name="T58" fmla="*/ 513 w 604"/>
                <a:gd name="T59" fmla="*/ 151 h 241"/>
                <a:gd name="T60" fmla="*/ 543 w 604"/>
                <a:gd name="T61" fmla="*/ 60 h 241"/>
                <a:gd name="T62" fmla="*/ 513 w 604"/>
                <a:gd name="T63" fmla="*/ 91 h 241"/>
                <a:gd name="T64" fmla="*/ 0 w 604"/>
                <a:gd name="T65" fmla="*/ 166 h 241"/>
                <a:gd name="T66" fmla="*/ 1 w 604"/>
                <a:gd name="T67" fmla="*/ 182 h 241"/>
                <a:gd name="T68" fmla="*/ 5 w 604"/>
                <a:gd name="T69" fmla="*/ 195 h 241"/>
                <a:gd name="T70" fmla="*/ 13 w 604"/>
                <a:gd name="T71" fmla="*/ 208 h 241"/>
                <a:gd name="T72" fmla="*/ 22 w 604"/>
                <a:gd name="T73" fmla="*/ 219 h 241"/>
                <a:gd name="T74" fmla="*/ 33 w 604"/>
                <a:gd name="T75" fmla="*/ 228 h 241"/>
                <a:gd name="T76" fmla="*/ 46 w 604"/>
                <a:gd name="T77" fmla="*/ 236 h 241"/>
                <a:gd name="T78" fmla="*/ 61 w 604"/>
                <a:gd name="T79" fmla="*/ 240 h 241"/>
                <a:gd name="T80" fmla="*/ 75 w 604"/>
                <a:gd name="T81" fmla="*/ 241 h 241"/>
                <a:gd name="T82" fmla="*/ 535 w 604"/>
                <a:gd name="T83" fmla="*/ 241 h 241"/>
                <a:gd name="T84" fmla="*/ 551 w 604"/>
                <a:gd name="T85" fmla="*/ 238 h 241"/>
                <a:gd name="T86" fmla="*/ 564 w 604"/>
                <a:gd name="T87" fmla="*/ 232 h 241"/>
                <a:gd name="T88" fmla="*/ 576 w 604"/>
                <a:gd name="T89" fmla="*/ 224 h 241"/>
                <a:gd name="T90" fmla="*/ 586 w 604"/>
                <a:gd name="T91" fmla="*/ 214 h 241"/>
                <a:gd name="T92" fmla="*/ 594 w 604"/>
                <a:gd name="T93" fmla="*/ 201 h 241"/>
                <a:gd name="T94" fmla="*/ 600 w 604"/>
                <a:gd name="T95" fmla="*/ 188 h 241"/>
                <a:gd name="T96" fmla="*/ 603 w 604"/>
                <a:gd name="T97" fmla="*/ 174 h 241"/>
                <a:gd name="T98" fmla="*/ 604 w 604"/>
                <a:gd name="T99" fmla="*/ 0 h 241"/>
                <a:gd name="T100" fmla="*/ 0 w 604"/>
                <a:gd name="T101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4" h="241">
                  <a:moveTo>
                    <a:pt x="61" y="60"/>
                  </a:moveTo>
                  <a:lnTo>
                    <a:pt x="91" y="60"/>
                  </a:lnTo>
                  <a:lnTo>
                    <a:pt x="91" y="91"/>
                  </a:lnTo>
                  <a:lnTo>
                    <a:pt x="61" y="91"/>
                  </a:lnTo>
                  <a:lnTo>
                    <a:pt x="61" y="60"/>
                  </a:lnTo>
                  <a:close/>
                  <a:moveTo>
                    <a:pt x="120" y="151"/>
                  </a:moveTo>
                  <a:lnTo>
                    <a:pt x="91" y="151"/>
                  </a:lnTo>
                  <a:lnTo>
                    <a:pt x="91" y="121"/>
                  </a:lnTo>
                  <a:lnTo>
                    <a:pt x="120" y="121"/>
                  </a:lnTo>
                  <a:lnTo>
                    <a:pt x="120" y="151"/>
                  </a:lnTo>
                  <a:close/>
                  <a:moveTo>
                    <a:pt x="120" y="60"/>
                  </a:moveTo>
                  <a:lnTo>
                    <a:pt x="150" y="60"/>
                  </a:lnTo>
                  <a:lnTo>
                    <a:pt x="150" y="91"/>
                  </a:lnTo>
                  <a:lnTo>
                    <a:pt x="120" y="91"/>
                  </a:lnTo>
                  <a:lnTo>
                    <a:pt x="120" y="60"/>
                  </a:lnTo>
                  <a:close/>
                  <a:moveTo>
                    <a:pt x="181" y="151"/>
                  </a:moveTo>
                  <a:lnTo>
                    <a:pt x="150" y="151"/>
                  </a:lnTo>
                  <a:lnTo>
                    <a:pt x="150" y="121"/>
                  </a:lnTo>
                  <a:lnTo>
                    <a:pt x="181" y="121"/>
                  </a:lnTo>
                  <a:lnTo>
                    <a:pt x="181" y="151"/>
                  </a:lnTo>
                  <a:close/>
                  <a:moveTo>
                    <a:pt x="181" y="60"/>
                  </a:moveTo>
                  <a:lnTo>
                    <a:pt x="211" y="60"/>
                  </a:lnTo>
                  <a:lnTo>
                    <a:pt x="211" y="91"/>
                  </a:lnTo>
                  <a:lnTo>
                    <a:pt x="181" y="91"/>
                  </a:lnTo>
                  <a:lnTo>
                    <a:pt x="181" y="60"/>
                  </a:lnTo>
                  <a:close/>
                  <a:moveTo>
                    <a:pt x="241" y="60"/>
                  </a:moveTo>
                  <a:lnTo>
                    <a:pt x="272" y="60"/>
                  </a:lnTo>
                  <a:lnTo>
                    <a:pt x="272" y="91"/>
                  </a:lnTo>
                  <a:lnTo>
                    <a:pt x="241" y="91"/>
                  </a:lnTo>
                  <a:lnTo>
                    <a:pt x="241" y="60"/>
                  </a:lnTo>
                  <a:close/>
                  <a:moveTo>
                    <a:pt x="332" y="60"/>
                  </a:moveTo>
                  <a:lnTo>
                    <a:pt x="362" y="60"/>
                  </a:lnTo>
                  <a:lnTo>
                    <a:pt x="362" y="91"/>
                  </a:lnTo>
                  <a:lnTo>
                    <a:pt x="332" y="91"/>
                  </a:lnTo>
                  <a:lnTo>
                    <a:pt x="332" y="60"/>
                  </a:lnTo>
                  <a:close/>
                  <a:moveTo>
                    <a:pt x="393" y="151"/>
                  </a:moveTo>
                  <a:lnTo>
                    <a:pt x="211" y="151"/>
                  </a:lnTo>
                  <a:lnTo>
                    <a:pt x="211" y="121"/>
                  </a:lnTo>
                  <a:lnTo>
                    <a:pt x="393" y="121"/>
                  </a:lnTo>
                  <a:lnTo>
                    <a:pt x="393" y="151"/>
                  </a:lnTo>
                  <a:close/>
                  <a:moveTo>
                    <a:pt x="393" y="60"/>
                  </a:moveTo>
                  <a:lnTo>
                    <a:pt x="422" y="60"/>
                  </a:lnTo>
                  <a:lnTo>
                    <a:pt x="422" y="91"/>
                  </a:lnTo>
                  <a:lnTo>
                    <a:pt x="393" y="91"/>
                  </a:lnTo>
                  <a:lnTo>
                    <a:pt x="393" y="60"/>
                  </a:lnTo>
                  <a:close/>
                  <a:moveTo>
                    <a:pt x="452" y="151"/>
                  </a:moveTo>
                  <a:lnTo>
                    <a:pt x="422" y="151"/>
                  </a:lnTo>
                  <a:lnTo>
                    <a:pt x="422" y="121"/>
                  </a:lnTo>
                  <a:lnTo>
                    <a:pt x="452" y="121"/>
                  </a:lnTo>
                  <a:lnTo>
                    <a:pt x="452" y="151"/>
                  </a:lnTo>
                  <a:close/>
                  <a:moveTo>
                    <a:pt x="452" y="60"/>
                  </a:moveTo>
                  <a:lnTo>
                    <a:pt x="483" y="60"/>
                  </a:lnTo>
                  <a:lnTo>
                    <a:pt x="483" y="91"/>
                  </a:lnTo>
                  <a:lnTo>
                    <a:pt x="452" y="91"/>
                  </a:lnTo>
                  <a:lnTo>
                    <a:pt x="452" y="60"/>
                  </a:lnTo>
                  <a:close/>
                  <a:moveTo>
                    <a:pt x="513" y="151"/>
                  </a:moveTo>
                  <a:lnTo>
                    <a:pt x="483" y="151"/>
                  </a:lnTo>
                  <a:lnTo>
                    <a:pt x="483" y="121"/>
                  </a:lnTo>
                  <a:lnTo>
                    <a:pt x="513" y="121"/>
                  </a:lnTo>
                  <a:lnTo>
                    <a:pt x="513" y="151"/>
                  </a:lnTo>
                  <a:close/>
                  <a:moveTo>
                    <a:pt x="513" y="60"/>
                  </a:moveTo>
                  <a:lnTo>
                    <a:pt x="543" y="60"/>
                  </a:lnTo>
                  <a:lnTo>
                    <a:pt x="543" y="91"/>
                  </a:lnTo>
                  <a:lnTo>
                    <a:pt x="513" y="91"/>
                  </a:lnTo>
                  <a:lnTo>
                    <a:pt x="513" y="60"/>
                  </a:lnTo>
                  <a:close/>
                  <a:moveTo>
                    <a:pt x="0" y="166"/>
                  </a:moveTo>
                  <a:lnTo>
                    <a:pt x="0" y="174"/>
                  </a:lnTo>
                  <a:lnTo>
                    <a:pt x="1" y="182"/>
                  </a:lnTo>
                  <a:lnTo>
                    <a:pt x="3" y="188"/>
                  </a:lnTo>
                  <a:lnTo>
                    <a:pt x="5" y="195"/>
                  </a:lnTo>
                  <a:lnTo>
                    <a:pt x="9" y="201"/>
                  </a:lnTo>
                  <a:lnTo>
                    <a:pt x="13" y="208"/>
                  </a:lnTo>
                  <a:lnTo>
                    <a:pt x="18" y="214"/>
                  </a:lnTo>
                  <a:lnTo>
                    <a:pt x="22" y="219"/>
                  </a:lnTo>
                  <a:lnTo>
                    <a:pt x="27" y="224"/>
                  </a:lnTo>
                  <a:lnTo>
                    <a:pt x="33" y="228"/>
                  </a:lnTo>
                  <a:lnTo>
                    <a:pt x="40" y="232"/>
                  </a:lnTo>
                  <a:lnTo>
                    <a:pt x="46" y="236"/>
                  </a:lnTo>
                  <a:lnTo>
                    <a:pt x="53" y="238"/>
                  </a:lnTo>
                  <a:lnTo>
                    <a:pt x="61" y="240"/>
                  </a:lnTo>
                  <a:lnTo>
                    <a:pt x="67" y="241"/>
                  </a:lnTo>
                  <a:lnTo>
                    <a:pt x="75" y="241"/>
                  </a:lnTo>
                  <a:lnTo>
                    <a:pt x="529" y="241"/>
                  </a:lnTo>
                  <a:lnTo>
                    <a:pt x="535" y="241"/>
                  </a:lnTo>
                  <a:lnTo>
                    <a:pt x="543" y="240"/>
                  </a:lnTo>
                  <a:lnTo>
                    <a:pt x="551" y="238"/>
                  </a:lnTo>
                  <a:lnTo>
                    <a:pt x="557" y="236"/>
                  </a:lnTo>
                  <a:lnTo>
                    <a:pt x="564" y="232"/>
                  </a:lnTo>
                  <a:lnTo>
                    <a:pt x="571" y="228"/>
                  </a:lnTo>
                  <a:lnTo>
                    <a:pt x="576" y="224"/>
                  </a:lnTo>
                  <a:lnTo>
                    <a:pt x="582" y="219"/>
                  </a:lnTo>
                  <a:lnTo>
                    <a:pt x="586" y="214"/>
                  </a:lnTo>
                  <a:lnTo>
                    <a:pt x="590" y="208"/>
                  </a:lnTo>
                  <a:lnTo>
                    <a:pt x="594" y="201"/>
                  </a:lnTo>
                  <a:lnTo>
                    <a:pt x="597" y="195"/>
                  </a:lnTo>
                  <a:lnTo>
                    <a:pt x="600" y="188"/>
                  </a:lnTo>
                  <a:lnTo>
                    <a:pt x="602" y="182"/>
                  </a:lnTo>
                  <a:lnTo>
                    <a:pt x="603" y="174"/>
                  </a:lnTo>
                  <a:lnTo>
                    <a:pt x="604" y="166"/>
                  </a:lnTo>
                  <a:lnTo>
                    <a:pt x="604" y="0"/>
                  </a:lnTo>
                  <a:lnTo>
                    <a:pt x="0" y="0"/>
                  </a:lnTo>
                  <a:lnTo>
                    <a:pt x="0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" name="Freeform 1629"/>
            <p:cNvSpPr/>
            <p:nvPr/>
          </p:nvSpPr>
          <p:spPr bwMode="auto">
            <a:xfrm>
              <a:off x="1477963" y="3768725"/>
              <a:ext cx="239713" cy="95250"/>
            </a:xfrm>
            <a:custGeom>
              <a:avLst/>
              <a:gdLst>
                <a:gd name="T0" fmla="*/ 575 w 754"/>
                <a:gd name="T1" fmla="*/ 109 h 302"/>
                <a:gd name="T2" fmla="*/ 584 w 754"/>
                <a:gd name="T3" fmla="*/ 132 h 302"/>
                <a:gd name="T4" fmla="*/ 598 w 754"/>
                <a:gd name="T5" fmla="*/ 153 h 302"/>
                <a:gd name="T6" fmla="*/ 563 w 754"/>
                <a:gd name="T7" fmla="*/ 186 h 302"/>
                <a:gd name="T8" fmla="*/ 528 w 754"/>
                <a:gd name="T9" fmla="*/ 208 h 302"/>
                <a:gd name="T10" fmla="*/ 482 w 754"/>
                <a:gd name="T11" fmla="*/ 227 h 302"/>
                <a:gd name="T12" fmla="*/ 423 w 754"/>
                <a:gd name="T13" fmla="*/ 239 h 302"/>
                <a:gd name="T14" fmla="*/ 352 w 754"/>
                <a:gd name="T15" fmla="*/ 240 h 302"/>
                <a:gd name="T16" fmla="*/ 289 w 754"/>
                <a:gd name="T17" fmla="*/ 231 h 302"/>
                <a:gd name="T18" fmla="*/ 240 w 754"/>
                <a:gd name="T19" fmla="*/ 215 h 302"/>
                <a:gd name="T20" fmla="*/ 201 w 754"/>
                <a:gd name="T21" fmla="*/ 194 h 302"/>
                <a:gd name="T22" fmla="*/ 167 w 754"/>
                <a:gd name="T23" fmla="*/ 165 h 302"/>
                <a:gd name="T24" fmla="*/ 166 w 754"/>
                <a:gd name="T25" fmla="*/ 140 h 302"/>
                <a:gd name="T26" fmla="*/ 177 w 754"/>
                <a:gd name="T27" fmla="*/ 116 h 302"/>
                <a:gd name="T28" fmla="*/ 181 w 754"/>
                <a:gd name="T29" fmla="*/ 91 h 302"/>
                <a:gd name="T30" fmla="*/ 177 w 754"/>
                <a:gd name="T31" fmla="*/ 63 h 302"/>
                <a:gd name="T32" fmla="*/ 166 w 754"/>
                <a:gd name="T33" fmla="*/ 40 h 302"/>
                <a:gd name="T34" fmla="*/ 148 w 754"/>
                <a:gd name="T35" fmla="*/ 20 h 302"/>
                <a:gd name="T36" fmla="*/ 126 w 754"/>
                <a:gd name="T37" fmla="*/ 7 h 302"/>
                <a:gd name="T38" fmla="*/ 99 w 754"/>
                <a:gd name="T39" fmla="*/ 0 h 302"/>
                <a:gd name="T40" fmla="*/ 72 w 754"/>
                <a:gd name="T41" fmla="*/ 1 h 302"/>
                <a:gd name="T42" fmla="*/ 47 w 754"/>
                <a:gd name="T43" fmla="*/ 11 h 302"/>
                <a:gd name="T44" fmla="*/ 26 w 754"/>
                <a:gd name="T45" fmla="*/ 27 h 302"/>
                <a:gd name="T46" fmla="*/ 11 w 754"/>
                <a:gd name="T47" fmla="*/ 48 h 302"/>
                <a:gd name="T48" fmla="*/ 2 w 754"/>
                <a:gd name="T49" fmla="*/ 72 h 302"/>
                <a:gd name="T50" fmla="*/ 0 w 754"/>
                <a:gd name="T51" fmla="*/ 99 h 302"/>
                <a:gd name="T52" fmla="*/ 5 w 754"/>
                <a:gd name="T53" fmla="*/ 122 h 302"/>
                <a:gd name="T54" fmla="*/ 16 w 754"/>
                <a:gd name="T55" fmla="*/ 143 h 302"/>
                <a:gd name="T56" fmla="*/ 33 w 754"/>
                <a:gd name="T57" fmla="*/ 161 h 302"/>
                <a:gd name="T58" fmla="*/ 52 w 754"/>
                <a:gd name="T59" fmla="*/ 173 h 302"/>
                <a:gd name="T60" fmla="*/ 75 w 754"/>
                <a:gd name="T61" fmla="*/ 179 h 302"/>
                <a:gd name="T62" fmla="*/ 679 w 754"/>
                <a:gd name="T63" fmla="*/ 179 h 302"/>
                <a:gd name="T64" fmla="*/ 701 w 754"/>
                <a:gd name="T65" fmla="*/ 173 h 302"/>
                <a:gd name="T66" fmla="*/ 721 w 754"/>
                <a:gd name="T67" fmla="*/ 161 h 302"/>
                <a:gd name="T68" fmla="*/ 737 w 754"/>
                <a:gd name="T69" fmla="*/ 143 h 302"/>
                <a:gd name="T70" fmla="*/ 748 w 754"/>
                <a:gd name="T71" fmla="*/ 122 h 302"/>
                <a:gd name="T72" fmla="*/ 754 w 754"/>
                <a:gd name="T73" fmla="*/ 99 h 302"/>
                <a:gd name="T74" fmla="*/ 752 w 754"/>
                <a:gd name="T75" fmla="*/ 72 h 302"/>
                <a:gd name="T76" fmla="*/ 743 w 754"/>
                <a:gd name="T77" fmla="*/ 48 h 302"/>
                <a:gd name="T78" fmla="*/ 727 w 754"/>
                <a:gd name="T79" fmla="*/ 27 h 302"/>
                <a:gd name="T80" fmla="*/ 706 w 754"/>
                <a:gd name="T81" fmla="*/ 11 h 302"/>
                <a:gd name="T82" fmla="*/ 682 w 754"/>
                <a:gd name="T83" fmla="*/ 1 h 302"/>
                <a:gd name="T84" fmla="*/ 654 w 754"/>
                <a:gd name="T85" fmla="*/ 0 h 302"/>
                <a:gd name="T86" fmla="*/ 628 w 754"/>
                <a:gd name="T87" fmla="*/ 7 h 302"/>
                <a:gd name="T88" fmla="*/ 606 w 754"/>
                <a:gd name="T89" fmla="*/ 20 h 302"/>
                <a:gd name="T90" fmla="*/ 588 w 754"/>
                <a:gd name="T91" fmla="*/ 40 h 302"/>
                <a:gd name="T92" fmla="*/ 577 w 754"/>
                <a:gd name="T93" fmla="*/ 63 h 302"/>
                <a:gd name="T94" fmla="*/ 573 w 754"/>
                <a:gd name="T95" fmla="*/ 9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4" h="302">
                  <a:moveTo>
                    <a:pt x="573" y="91"/>
                  </a:moveTo>
                  <a:lnTo>
                    <a:pt x="574" y="100"/>
                  </a:lnTo>
                  <a:lnTo>
                    <a:pt x="575" y="109"/>
                  </a:lnTo>
                  <a:lnTo>
                    <a:pt x="577" y="116"/>
                  </a:lnTo>
                  <a:lnTo>
                    <a:pt x="579" y="124"/>
                  </a:lnTo>
                  <a:lnTo>
                    <a:pt x="584" y="132"/>
                  </a:lnTo>
                  <a:lnTo>
                    <a:pt x="587" y="140"/>
                  </a:lnTo>
                  <a:lnTo>
                    <a:pt x="592" y="146"/>
                  </a:lnTo>
                  <a:lnTo>
                    <a:pt x="598" y="153"/>
                  </a:lnTo>
                  <a:lnTo>
                    <a:pt x="587" y="165"/>
                  </a:lnTo>
                  <a:lnTo>
                    <a:pt x="571" y="179"/>
                  </a:lnTo>
                  <a:lnTo>
                    <a:pt x="563" y="186"/>
                  </a:lnTo>
                  <a:lnTo>
                    <a:pt x="553" y="194"/>
                  </a:lnTo>
                  <a:lnTo>
                    <a:pt x="541" y="202"/>
                  </a:lnTo>
                  <a:lnTo>
                    <a:pt x="528" y="208"/>
                  </a:lnTo>
                  <a:lnTo>
                    <a:pt x="514" y="215"/>
                  </a:lnTo>
                  <a:lnTo>
                    <a:pt x="498" y="222"/>
                  </a:lnTo>
                  <a:lnTo>
                    <a:pt x="482" y="227"/>
                  </a:lnTo>
                  <a:lnTo>
                    <a:pt x="464" y="231"/>
                  </a:lnTo>
                  <a:lnTo>
                    <a:pt x="444" y="236"/>
                  </a:lnTo>
                  <a:lnTo>
                    <a:pt x="423" y="239"/>
                  </a:lnTo>
                  <a:lnTo>
                    <a:pt x="401" y="240"/>
                  </a:lnTo>
                  <a:lnTo>
                    <a:pt x="377" y="241"/>
                  </a:lnTo>
                  <a:lnTo>
                    <a:pt x="352" y="240"/>
                  </a:lnTo>
                  <a:lnTo>
                    <a:pt x="330" y="239"/>
                  </a:lnTo>
                  <a:lnTo>
                    <a:pt x="309" y="236"/>
                  </a:lnTo>
                  <a:lnTo>
                    <a:pt x="289" y="231"/>
                  </a:lnTo>
                  <a:lnTo>
                    <a:pt x="272" y="227"/>
                  </a:lnTo>
                  <a:lnTo>
                    <a:pt x="254" y="222"/>
                  </a:lnTo>
                  <a:lnTo>
                    <a:pt x="240" y="215"/>
                  </a:lnTo>
                  <a:lnTo>
                    <a:pt x="225" y="208"/>
                  </a:lnTo>
                  <a:lnTo>
                    <a:pt x="212" y="202"/>
                  </a:lnTo>
                  <a:lnTo>
                    <a:pt x="201" y="194"/>
                  </a:lnTo>
                  <a:lnTo>
                    <a:pt x="191" y="186"/>
                  </a:lnTo>
                  <a:lnTo>
                    <a:pt x="181" y="179"/>
                  </a:lnTo>
                  <a:lnTo>
                    <a:pt x="167" y="165"/>
                  </a:lnTo>
                  <a:lnTo>
                    <a:pt x="156" y="153"/>
                  </a:lnTo>
                  <a:lnTo>
                    <a:pt x="161" y="146"/>
                  </a:lnTo>
                  <a:lnTo>
                    <a:pt x="166" y="140"/>
                  </a:lnTo>
                  <a:lnTo>
                    <a:pt x="170" y="132"/>
                  </a:lnTo>
                  <a:lnTo>
                    <a:pt x="173" y="124"/>
                  </a:lnTo>
                  <a:lnTo>
                    <a:pt x="177" y="116"/>
                  </a:lnTo>
                  <a:lnTo>
                    <a:pt x="179" y="109"/>
                  </a:lnTo>
                  <a:lnTo>
                    <a:pt x="180" y="100"/>
                  </a:lnTo>
                  <a:lnTo>
                    <a:pt x="181" y="91"/>
                  </a:lnTo>
                  <a:lnTo>
                    <a:pt x="180" y="81"/>
                  </a:lnTo>
                  <a:lnTo>
                    <a:pt x="179" y="72"/>
                  </a:lnTo>
                  <a:lnTo>
                    <a:pt x="177" y="63"/>
                  </a:lnTo>
                  <a:lnTo>
                    <a:pt x="173" y="56"/>
                  </a:lnTo>
                  <a:lnTo>
                    <a:pt x="170" y="48"/>
                  </a:lnTo>
                  <a:lnTo>
                    <a:pt x="166" y="40"/>
                  </a:lnTo>
                  <a:lnTo>
                    <a:pt x="160" y="33"/>
                  </a:lnTo>
                  <a:lnTo>
                    <a:pt x="154" y="27"/>
                  </a:lnTo>
                  <a:lnTo>
                    <a:pt x="148" y="20"/>
                  </a:lnTo>
                  <a:lnTo>
                    <a:pt x="140" y="16"/>
                  </a:lnTo>
                  <a:lnTo>
                    <a:pt x="133" y="11"/>
                  </a:lnTo>
                  <a:lnTo>
                    <a:pt x="126" y="7"/>
                  </a:lnTo>
                  <a:lnTo>
                    <a:pt x="117" y="4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0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5" y="7"/>
                  </a:lnTo>
                  <a:lnTo>
                    <a:pt x="47" y="11"/>
                  </a:lnTo>
                  <a:lnTo>
                    <a:pt x="39" y="16"/>
                  </a:lnTo>
                  <a:lnTo>
                    <a:pt x="33" y="20"/>
                  </a:lnTo>
                  <a:lnTo>
                    <a:pt x="26" y="27"/>
                  </a:lnTo>
                  <a:lnTo>
                    <a:pt x="21" y="33"/>
                  </a:lnTo>
                  <a:lnTo>
                    <a:pt x="15" y="40"/>
                  </a:lnTo>
                  <a:lnTo>
                    <a:pt x="11" y="48"/>
                  </a:lnTo>
                  <a:lnTo>
                    <a:pt x="6" y="56"/>
                  </a:lnTo>
                  <a:lnTo>
                    <a:pt x="4" y="63"/>
                  </a:lnTo>
                  <a:lnTo>
                    <a:pt x="2" y="72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0" y="99"/>
                  </a:lnTo>
                  <a:lnTo>
                    <a:pt x="1" y="106"/>
                  </a:lnTo>
                  <a:lnTo>
                    <a:pt x="3" y="115"/>
                  </a:lnTo>
                  <a:lnTo>
                    <a:pt x="5" y="122"/>
                  </a:lnTo>
                  <a:lnTo>
                    <a:pt x="8" y="130"/>
                  </a:lnTo>
                  <a:lnTo>
                    <a:pt x="12" y="136"/>
                  </a:lnTo>
                  <a:lnTo>
                    <a:pt x="16" y="143"/>
                  </a:lnTo>
                  <a:lnTo>
                    <a:pt x="22" y="150"/>
                  </a:lnTo>
                  <a:lnTo>
                    <a:pt x="26" y="155"/>
                  </a:lnTo>
                  <a:lnTo>
                    <a:pt x="33" y="161"/>
                  </a:lnTo>
                  <a:lnTo>
                    <a:pt x="38" y="165"/>
                  </a:lnTo>
                  <a:lnTo>
                    <a:pt x="45" y="170"/>
                  </a:lnTo>
                  <a:lnTo>
                    <a:pt x="52" y="173"/>
                  </a:lnTo>
                  <a:lnTo>
                    <a:pt x="59" y="176"/>
                  </a:lnTo>
                  <a:lnTo>
                    <a:pt x="67" y="178"/>
                  </a:lnTo>
                  <a:lnTo>
                    <a:pt x="75" y="179"/>
                  </a:lnTo>
                  <a:lnTo>
                    <a:pt x="75" y="302"/>
                  </a:lnTo>
                  <a:lnTo>
                    <a:pt x="679" y="302"/>
                  </a:lnTo>
                  <a:lnTo>
                    <a:pt x="679" y="179"/>
                  </a:lnTo>
                  <a:lnTo>
                    <a:pt x="687" y="178"/>
                  </a:lnTo>
                  <a:lnTo>
                    <a:pt x="694" y="176"/>
                  </a:lnTo>
                  <a:lnTo>
                    <a:pt x="701" y="173"/>
                  </a:lnTo>
                  <a:lnTo>
                    <a:pt x="709" y="170"/>
                  </a:lnTo>
                  <a:lnTo>
                    <a:pt x="715" y="165"/>
                  </a:lnTo>
                  <a:lnTo>
                    <a:pt x="721" y="161"/>
                  </a:lnTo>
                  <a:lnTo>
                    <a:pt x="726" y="155"/>
                  </a:lnTo>
                  <a:lnTo>
                    <a:pt x="732" y="150"/>
                  </a:lnTo>
                  <a:lnTo>
                    <a:pt x="737" y="143"/>
                  </a:lnTo>
                  <a:lnTo>
                    <a:pt x="742" y="136"/>
                  </a:lnTo>
                  <a:lnTo>
                    <a:pt x="745" y="130"/>
                  </a:lnTo>
                  <a:lnTo>
                    <a:pt x="748" y="122"/>
                  </a:lnTo>
                  <a:lnTo>
                    <a:pt x="751" y="115"/>
                  </a:lnTo>
                  <a:lnTo>
                    <a:pt x="753" y="106"/>
                  </a:lnTo>
                  <a:lnTo>
                    <a:pt x="754" y="99"/>
                  </a:lnTo>
                  <a:lnTo>
                    <a:pt x="754" y="91"/>
                  </a:lnTo>
                  <a:lnTo>
                    <a:pt x="753" y="81"/>
                  </a:lnTo>
                  <a:lnTo>
                    <a:pt x="752" y="72"/>
                  </a:lnTo>
                  <a:lnTo>
                    <a:pt x="750" y="63"/>
                  </a:lnTo>
                  <a:lnTo>
                    <a:pt x="746" y="56"/>
                  </a:lnTo>
                  <a:lnTo>
                    <a:pt x="743" y="48"/>
                  </a:lnTo>
                  <a:lnTo>
                    <a:pt x="738" y="40"/>
                  </a:lnTo>
                  <a:lnTo>
                    <a:pt x="733" y="33"/>
                  </a:lnTo>
                  <a:lnTo>
                    <a:pt x="727" y="27"/>
                  </a:lnTo>
                  <a:lnTo>
                    <a:pt x="721" y="20"/>
                  </a:lnTo>
                  <a:lnTo>
                    <a:pt x="714" y="16"/>
                  </a:lnTo>
                  <a:lnTo>
                    <a:pt x="706" y="11"/>
                  </a:lnTo>
                  <a:lnTo>
                    <a:pt x="699" y="7"/>
                  </a:lnTo>
                  <a:lnTo>
                    <a:pt x="690" y="4"/>
                  </a:lnTo>
                  <a:lnTo>
                    <a:pt x="682" y="1"/>
                  </a:lnTo>
                  <a:lnTo>
                    <a:pt x="672" y="0"/>
                  </a:lnTo>
                  <a:lnTo>
                    <a:pt x="663" y="0"/>
                  </a:lnTo>
                  <a:lnTo>
                    <a:pt x="654" y="0"/>
                  </a:lnTo>
                  <a:lnTo>
                    <a:pt x="646" y="1"/>
                  </a:lnTo>
                  <a:lnTo>
                    <a:pt x="637" y="4"/>
                  </a:lnTo>
                  <a:lnTo>
                    <a:pt x="628" y="7"/>
                  </a:lnTo>
                  <a:lnTo>
                    <a:pt x="620" y="11"/>
                  </a:lnTo>
                  <a:lnTo>
                    <a:pt x="612" y="16"/>
                  </a:lnTo>
                  <a:lnTo>
                    <a:pt x="606" y="20"/>
                  </a:lnTo>
                  <a:lnTo>
                    <a:pt x="599" y="27"/>
                  </a:lnTo>
                  <a:lnTo>
                    <a:pt x="594" y="33"/>
                  </a:lnTo>
                  <a:lnTo>
                    <a:pt x="588" y="40"/>
                  </a:lnTo>
                  <a:lnTo>
                    <a:pt x="584" y="48"/>
                  </a:lnTo>
                  <a:lnTo>
                    <a:pt x="580" y="56"/>
                  </a:lnTo>
                  <a:lnTo>
                    <a:pt x="577" y="63"/>
                  </a:lnTo>
                  <a:lnTo>
                    <a:pt x="575" y="72"/>
                  </a:lnTo>
                  <a:lnTo>
                    <a:pt x="574" y="81"/>
                  </a:lnTo>
                  <a:lnTo>
                    <a:pt x="573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791029" y="1611875"/>
            <a:ext cx="343988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</a:rPr>
              <a:t>Copywriter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961089" y="1611875"/>
            <a:ext cx="343988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</a:rPr>
              <a:t>Content Writer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91028" y="219973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91028" y="348254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91028" y="476535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961086" y="219973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 algn="r" rtl="1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961086" y="348254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 algn="r" rtl="1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961086" y="476535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 algn="r" rtl="1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ntent Writing Cycle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4408233" y="1898548"/>
            <a:ext cx="3375534" cy="3375534"/>
            <a:chOff x="4298950" y="1974850"/>
            <a:chExt cx="3594100" cy="3594100"/>
          </a:xfrm>
        </p:grpSpPr>
        <p:sp>
          <p:nvSpPr>
            <p:cNvPr id="40" name="Circle: Hollow 39"/>
            <p:cNvSpPr/>
            <p:nvPr/>
          </p:nvSpPr>
          <p:spPr>
            <a:xfrm>
              <a:off x="4368800" y="2044700"/>
              <a:ext cx="3454400" cy="3454400"/>
            </a:xfrm>
            <a:prstGeom prst="donut">
              <a:avLst>
                <a:gd name="adj" fmla="val 3671"/>
              </a:avLst>
            </a:prstGeom>
            <a:solidFill>
              <a:schemeClr val="tx2">
                <a:lumMod val="40000"/>
                <a:lumOff val="60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5959475" y="1974850"/>
              <a:ext cx="273050" cy="27305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Oval 41"/>
            <p:cNvSpPr/>
            <p:nvPr/>
          </p:nvSpPr>
          <p:spPr>
            <a:xfrm>
              <a:off x="5959475" y="5295900"/>
              <a:ext cx="273050" cy="27305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>
              <a:off x="4298950" y="3635375"/>
              <a:ext cx="273050" cy="27305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>
              <a:off x="7620000" y="3635375"/>
              <a:ext cx="273050" cy="27305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>
              <a:off x="4785307" y="2461207"/>
              <a:ext cx="273050" cy="27305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>
              <a:off x="7133643" y="4809543"/>
              <a:ext cx="273050" cy="2730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>
              <a:off x="4785307" y="4809543"/>
              <a:ext cx="273050" cy="2730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>
              <a:off x="7133643" y="2461207"/>
              <a:ext cx="273050" cy="27305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5640646" y="1104065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5168317" y="1289117"/>
            <a:ext cx="252412" cy="276225"/>
            <a:chOff x="11272838" y="1349375"/>
            <a:chExt cx="252412" cy="276225"/>
          </a:xfrm>
          <a:solidFill>
            <a:schemeClr val="accent1"/>
          </a:solidFill>
        </p:grpSpPr>
        <p:sp>
          <p:nvSpPr>
            <p:cNvPr id="51" name="Freeform 2013"/>
            <p:cNvSpPr>
              <a:spLocks noEditPoints="1"/>
            </p:cNvSpPr>
            <p:nvPr/>
          </p:nvSpPr>
          <p:spPr bwMode="auto">
            <a:xfrm>
              <a:off x="11287125" y="1349375"/>
              <a:ext cx="238125" cy="276225"/>
            </a:xfrm>
            <a:custGeom>
              <a:avLst/>
              <a:gdLst>
                <a:gd name="T0" fmla="*/ 221 w 752"/>
                <a:gd name="T1" fmla="*/ 248 h 872"/>
                <a:gd name="T2" fmla="*/ 251 w 752"/>
                <a:gd name="T3" fmla="*/ 241 h 872"/>
                <a:gd name="T4" fmla="*/ 281 w 752"/>
                <a:gd name="T5" fmla="*/ 248 h 872"/>
                <a:gd name="T6" fmla="*/ 351 w 752"/>
                <a:gd name="T7" fmla="*/ 315 h 872"/>
                <a:gd name="T8" fmla="*/ 364 w 752"/>
                <a:gd name="T9" fmla="*/ 343 h 872"/>
                <a:gd name="T10" fmla="*/ 362 w 752"/>
                <a:gd name="T11" fmla="*/ 373 h 872"/>
                <a:gd name="T12" fmla="*/ 347 w 752"/>
                <a:gd name="T13" fmla="*/ 400 h 872"/>
                <a:gd name="T14" fmla="*/ 473 w 752"/>
                <a:gd name="T15" fmla="*/ 540 h 872"/>
                <a:gd name="T16" fmla="*/ 501 w 752"/>
                <a:gd name="T17" fmla="*/ 520 h 872"/>
                <a:gd name="T18" fmla="*/ 531 w 752"/>
                <a:gd name="T19" fmla="*/ 516 h 872"/>
                <a:gd name="T20" fmla="*/ 560 w 752"/>
                <a:gd name="T21" fmla="*/ 525 h 872"/>
                <a:gd name="T22" fmla="*/ 628 w 752"/>
                <a:gd name="T23" fmla="*/ 594 h 872"/>
                <a:gd name="T24" fmla="*/ 638 w 752"/>
                <a:gd name="T25" fmla="*/ 622 h 872"/>
                <a:gd name="T26" fmla="*/ 634 w 752"/>
                <a:gd name="T27" fmla="*/ 653 h 872"/>
                <a:gd name="T28" fmla="*/ 592 w 752"/>
                <a:gd name="T29" fmla="*/ 701 h 872"/>
                <a:gd name="T30" fmla="*/ 556 w 752"/>
                <a:gd name="T31" fmla="*/ 723 h 872"/>
                <a:gd name="T32" fmla="*/ 505 w 752"/>
                <a:gd name="T33" fmla="*/ 723 h 872"/>
                <a:gd name="T34" fmla="*/ 415 w 752"/>
                <a:gd name="T35" fmla="*/ 662 h 872"/>
                <a:gd name="T36" fmla="*/ 310 w 752"/>
                <a:gd name="T37" fmla="*/ 570 h 872"/>
                <a:gd name="T38" fmla="*/ 217 w 752"/>
                <a:gd name="T39" fmla="*/ 465 h 872"/>
                <a:gd name="T40" fmla="*/ 161 w 752"/>
                <a:gd name="T41" fmla="*/ 384 h 872"/>
                <a:gd name="T42" fmla="*/ 153 w 752"/>
                <a:gd name="T43" fmla="*/ 347 h 872"/>
                <a:gd name="T44" fmla="*/ 162 w 752"/>
                <a:gd name="T45" fmla="*/ 312 h 872"/>
                <a:gd name="T46" fmla="*/ 31 w 752"/>
                <a:gd name="T47" fmla="*/ 75 h 872"/>
                <a:gd name="T48" fmla="*/ 40 w 752"/>
                <a:gd name="T49" fmla="*/ 47 h 872"/>
                <a:gd name="T50" fmla="*/ 72 w 752"/>
                <a:gd name="T51" fmla="*/ 32 h 872"/>
                <a:gd name="T52" fmla="*/ 742 w 752"/>
                <a:gd name="T53" fmla="*/ 29 h 872"/>
                <a:gd name="T54" fmla="*/ 752 w 752"/>
                <a:gd name="T55" fmla="*/ 18 h 872"/>
                <a:gd name="T56" fmla="*/ 748 w 752"/>
                <a:gd name="T57" fmla="*/ 4 h 872"/>
                <a:gd name="T58" fmla="*/ 91 w 752"/>
                <a:gd name="T59" fmla="*/ 0 h 872"/>
                <a:gd name="T60" fmla="*/ 45 w 752"/>
                <a:gd name="T61" fmla="*/ 8 h 872"/>
                <a:gd name="T62" fmla="*/ 14 w 752"/>
                <a:gd name="T63" fmla="*/ 31 h 872"/>
                <a:gd name="T64" fmla="*/ 1 w 752"/>
                <a:gd name="T65" fmla="*/ 66 h 872"/>
                <a:gd name="T66" fmla="*/ 72 w 752"/>
                <a:gd name="T67" fmla="*/ 204 h 872"/>
                <a:gd name="T68" fmla="*/ 90 w 752"/>
                <a:gd name="T69" fmla="*/ 227 h 872"/>
                <a:gd name="T70" fmla="*/ 82 w 752"/>
                <a:gd name="T71" fmla="*/ 254 h 872"/>
                <a:gd name="T72" fmla="*/ 0 w 752"/>
                <a:gd name="T73" fmla="*/ 262 h 872"/>
                <a:gd name="T74" fmla="*/ 77 w 752"/>
                <a:gd name="T75" fmla="*/ 333 h 872"/>
                <a:gd name="T76" fmla="*/ 91 w 752"/>
                <a:gd name="T77" fmla="*/ 359 h 872"/>
                <a:gd name="T78" fmla="*/ 77 w 752"/>
                <a:gd name="T79" fmla="*/ 384 h 872"/>
                <a:gd name="T80" fmla="*/ 0 w 752"/>
                <a:gd name="T81" fmla="*/ 454 h 872"/>
                <a:gd name="T82" fmla="*/ 82 w 752"/>
                <a:gd name="T83" fmla="*/ 463 h 872"/>
                <a:gd name="T84" fmla="*/ 90 w 752"/>
                <a:gd name="T85" fmla="*/ 491 h 872"/>
                <a:gd name="T86" fmla="*/ 72 w 752"/>
                <a:gd name="T87" fmla="*/ 512 h 872"/>
                <a:gd name="T88" fmla="*/ 61 w 752"/>
                <a:gd name="T89" fmla="*/ 580 h 872"/>
                <a:gd name="T90" fmla="*/ 86 w 752"/>
                <a:gd name="T91" fmla="*/ 594 h 872"/>
                <a:gd name="T92" fmla="*/ 88 w 752"/>
                <a:gd name="T93" fmla="*/ 622 h 872"/>
                <a:gd name="T94" fmla="*/ 67 w 752"/>
                <a:gd name="T95" fmla="*/ 640 h 872"/>
                <a:gd name="T96" fmla="*/ 67 w 752"/>
                <a:gd name="T97" fmla="*/ 706 h 872"/>
                <a:gd name="T98" fmla="*/ 88 w 752"/>
                <a:gd name="T99" fmla="*/ 725 h 872"/>
                <a:gd name="T100" fmla="*/ 86 w 752"/>
                <a:gd name="T101" fmla="*/ 753 h 872"/>
                <a:gd name="T102" fmla="*/ 61 w 752"/>
                <a:gd name="T103" fmla="*/ 766 h 872"/>
                <a:gd name="T104" fmla="*/ 4 w 752"/>
                <a:gd name="T105" fmla="*/ 808 h 872"/>
                <a:gd name="T106" fmla="*/ 27 w 752"/>
                <a:gd name="T107" fmla="*/ 845 h 872"/>
                <a:gd name="T108" fmla="*/ 63 w 752"/>
                <a:gd name="T109" fmla="*/ 867 h 872"/>
                <a:gd name="T110" fmla="*/ 752 w 752"/>
                <a:gd name="T111" fmla="*/ 120 h 872"/>
                <a:gd name="T112" fmla="*/ 53 w 752"/>
                <a:gd name="T113" fmla="*/ 112 h 872"/>
                <a:gd name="T114" fmla="*/ 34 w 752"/>
                <a:gd name="T115" fmla="*/ 9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52" h="872">
                  <a:moveTo>
                    <a:pt x="179" y="287"/>
                  </a:moveTo>
                  <a:lnTo>
                    <a:pt x="207" y="259"/>
                  </a:lnTo>
                  <a:lnTo>
                    <a:pt x="211" y="256"/>
                  </a:lnTo>
                  <a:lnTo>
                    <a:pt x="216" y="252"/>
                  </a:lnTo>
                  <a:lnTo>
                    <a:pt x="221" y="248"/>
                  </a:lnTo>
                  <a:lnTo>
                    <a:pt x="227" y="246"/>
                  </a:lnTo>
                  <a:lnTo>
                    <a:pt x="233" y="244"/>
                  </a:lnTo>
                  <a:lnTo>
                    <a:pt x="238" y="243"/>
                  </a:lnTo>
                  <a:lnTo>
                    <a:pt x="245" y="242"/>
                  </a:lnTo>
                  <a:lnTo>
                    <a:pt x="251" y="241"/>
                  </a:lnTo>
                  <a:lnTo>
                    <a:pt x="258" y="242"/>
                  </a:lnTo>
                  <a:lnTo>
                    <a:pt x="264" y="243"/>
                  </a:lnTo>
                  <a:lnTo>
                    <a:pt x="269" y="244"/>
                  </a:lnTo>
                  <a:lnTo>
                    <a:pt x="275" y="246"/>
                  </a:lnTo>
                  <a:lnTo>
                    <a:pt x="281" y="248"/>
                  </a:lnTo>
                  <a:lnTo>
                    <a:pt x="286" y="252"/>
                  </a:lnTo>
                  <a:lnTo>
                    <a:pt x="291" y="256"/>
                  </a:lnTo>
                  <a:lnTo>
                    <a:pt x="295" y="260"/>
                  </a:lnTo>
                  <a:lnTo>
                    <a:pt x="347" y="311"/>
                  </a:lnTo>
                  <a:lnTo>
                    <a:pt x="351" y="315"/>
                  </a:lnTo>
                  <a:lnTo>
                    <a:pt x="354" y="320"/>
                  </a:lnTo>
                  <a:lnTo>
                    <a:pt x="357" y="326"/>
                  </a:lnTo>
                  <a:lnTo>
                    <a:pt x="359" y="331"/>
                  </a:lnTo>
                  <a:lnTo>
                    <a:pt x="362" y="336"/>
                  </a:lnTo>
                  <a:lnTo>
                    <a:pt x="364" y="343"/>
                  </a:lnTo>
                  <a:lnTo>
                    <a:pt x="365" y="348"/>
                  </a:lnTo>
                  <a:lnTo>
                    <a:pt x="365" y="355"/>
                  </a:lnTo>
                  <a:lnTo>
                    <a:pt x="365" y="361"/>
                  </a:lnTo>
                  <a:lnTo>
                    <a:pt x="364" y="367"/>
                  </a:lnTo>
                  <a:lnTo>
                    <a:pt x="362" y="373"/>
                  </a:lnTo>
                  <a:lnTo>
                    <a:pt x="359" y="379"/>
                  </a:lnTo>
                  <a:lnTo>
                    <a:pt x="357" y="385"/>
                  </a:lnTo>
                  <a:lnTo>
                    <a:pt x="354" y="390"/>
                  </a:lnTo>
                  <a:lnTo>
                    <a:pt x="351" y="394"/>
                  </a:lnTo>
                  <a:lnTo>
                    <a:pt x="347" y="400"/>
                  </a:lnTo>
                  <a:lnTo>
                    <a:pt x="339" y="406"/>
                  </a:lnTo>
                  <a:lnTo>
                    <a:pt x="370" y="441"/>
                  </a:lnTo>
                  <a:lnTo>
                    <a:pt x="403" y="477"/>
                  </a:lnTo>
                  <a:lnTo>
                    <a:pt x="438" y="509"/>
                  </a:lnTo>
                  <a:lnTo>
                    <a:pt x="473" y="540"/>
                  </a:lnTo>
                  <a:lnTo>
                    <a:pt x="481" y="534"/>
                  </a:lnTo>
                  <a:lnTo>
                    <a:pt x="485" y="529"/>
                  </a:lnTo>
                  <a:lnTo>
                    <a:pt x="490" y="525"/>
                  </a:lnTo>
                  <a:lnTo>
                    <a:pt x="496" y="522"/>
                  </a:lnTo>
                  <a:lnTo>
                    <a:pt x="501" y="520"/>
                  </a:lnTo>
                  <a:lnTo>
                    <a:pt x="506" y="518"/>
                  </a:lnTo>
                  <a:lnTo>
                    <a:pt x="513" y="517"/>
                  </a:lnTo>
                  <a:lnTo>
                    <a:pt x="518" y="516"/>
                  </a:lnTo>
                  <a:lnTo>
                    <a:pt x="525" y="514"/>
                  </a:lnTo>
                  <a:lnTo>
                    <a:pt x="531" y="516"/>
                  </a:lnTo>
                  <a:lnTo>
                    <a:pt x="537" y="517"/>
                  </a:lnTo>
                  <a:lnTo>
                    <a:pt x="543" y="518"/>
                  </a:lnTo>
                  <a:lnTo>
                    <a:pt x="548" y="520"/>
                  </a:lnTo>
                  <a:lnTo>
                    <a:pt x="555" y="522"/>
                  </a:lnTo>
                  <a:lnTo>
                    <a:pt x="560" y="525"/>
                  </a:lnTo>
                  <a:lnTo>
                    <a:pt x="564" y="529"/>
                  </a:lnTo>
                  <a:lnTo>
                    <a:pt x="569" y="534"/>
                  </a:lnTo>
                  <a:lnTo>
                    <a:pt x="620" y="584"/>
                  </a:lnTo>
                  <a:lnTo>
                    <a:pt x="624" y="588"/>
                  </a:lnTo>
                  <a:lnTo>
                    <a:pt x="628" y="594"/>
                  </a:lnTo>
                  <a:lnTo>
                    <a:pt x="631" y="599"/>
                  </a:lnTo>
                  <a:lnTo>
                    <a:pt x="634" y="605"/>
                  </a:lnTo>
                  <a:lnTo>
                    <a:pt x="635" y="610"/>
                  </a:lnTo>
                  <a:lnTo>
                    <a:pt x="637" y="616"/>
                  </a:lnTo>
                  <a:lnTo>
                    <a:pt x="638" y="622"/>
                  </a:lnTo>
                  <a:lnTo>
                    <a:pt x="638" y="628"/>
                  </a:lnTo>
                  <a:lnTo>
                    <a:pt x="638" y="635"/>
                  </a:lnTo>
                  <a:lnTo>
                    <a:pt x="637" y="641"/>
                  </a:lnTo>
                  <a:lnTo>
                    <a:pt x="635" y="646"/>
                  </a:lnTo>
                  <a:lnTo>
                    <a:pt x="634" y="653"/>
                  </a:lnTo>
                  <a:lnTo>
                    <a:pt x="631" y="658"/>
                  </a:lnTo>
                  <a:lnTo>
                    <a:pt x="628" y="664"/>
                  </a:lnTo>
                  <a:lnTo>
                    <a:pt x="624" y="668"/>
                  </a:lnTo>
                  <a:lnTo>
                    <a:pt x="620" y="673"/>
                  </a:lnTo>
                  <a:lnTo>
                    <a:pt x="592" y="701"/>
                  </a:lnTo>
                  <a:lnTo>
                    <a:pt x="586" y="706"/>
                  </a:lnTo>
                  <a:lnTo>
                    <a:pt x="579" y="712"/>
                  </a:lnTo>
                  <a:lnTo>
                    <a:pt x="572" y="716"/>
                  </a:lnTo>
                  <a:lnTo>
                    <a:pt x="564" y="719"/>
                  </a:lnTo>
                  <a:lnTo>
                    <a:pt x="556" y="723"/>
                  </a:lnTo>
                  <a:lnTo>
                    <a:pt x="548" y="725"/>
                  </a:lnTo>
                  <a:lnTo>
                    <a:pt x="540" y="726"/>
                  </a:lnTo>
                  <a:lnTo>
                    <a:pt x="531" y="726"/>
                  </a:lnTo>
                  <a:lnTo>
                    <a:pt x="518" y="725"/>
                  </a:lnTo>
                  <a:lnTo>
                    <a:pt x="505" y="723"/>
                  </a:lnTo>
                  <a:lnTo>
                    <a:pt x="493" y="718"/>
                  </a:lnTo>
                  <a:lnTo>
                    <a:pt x="483" y="712"/>
                  </a:lnTo>
                  <a:lnTo>
                    <a:pt x="460" y="696"/>
                  </a:lnTo>
                  <a:lnTo>
                    <a:pt x="437" y="680"/>
                  </a:lnTo>
                  <a:lnTo>
                    <a:pt x="415" y="662"/>
                  </a:lnTo>
                  <a:lnTo>
                    <a:pt x="393" y="645"/>
                  </a:lnTo>
                  <a:lnTo>
                    <a:pt x="371" y="627"/>
                  </a:lnTo>
                  <a:lnTo>
                    <a:pt x="351" y="609"/>
                  </a:lnTo>
                  <a:lnTo>
                    <a:pt x="329" y="590"/>
                  </a:lnTo>
                  <a:lnTo>
                    <a:pt x="310" y="570"/>
                  </a:lnTo>
                  <a:lnTo>
                    <a:pt x="290" y="550"/>
                  </a:lnTo>
                  <a:lnTo>
                    <a:pt x="270" y="529"/>
                  </a:lnTo>
                  <a:lnTo>
                    <a:pt x="252" y="508"/>
                  </a:lnTo>
                  <a:lnTo>
                    <a:pt x="234" y="487"/>
                  </a:lnTo>
                  <a:lnTo>
                    <a:pt x="217" y="465"/>
                  </a:lnTo>
                  <a:lnTo>
                    <a:pt x="200" y="443"/>
                  </a:lnTo>
                  <a:lnTo>
                    <a:pt x="184" y="420"/>
                  </a:lnTo>
                  <a:lnTo>
                    <a:pt x="167" y="396"/>
                  </a:lnTo>
                  <a:lnTo>
                    <a:pt x="164" y="390"/>
                  </a:lnTo>
                  <a:lnTo>
                    <a:pt x="161" y="384"/>
                  </a:lnTo>
                  <a:lnTo>
                    <a:pt x="158" y="376"/>
                  </a:lnTo>
                  <a:lnTo>
                    <a:pt x="156" y="370"/>
                  </a:lnTo>
                  <a:lnTo>
                    <a:pt x="155" y="362"/>
                  </a:lnTo>
                  <a:lnTo>
                    <a:pt x="153" y="355"/>
                  </a:lnTo>
                  <a:lnTo>
                    <a:pt x="153" y="347"/>
                  </a:lnTo>
                  <a:lnTo>
                    <a:pt x="155" y="340"/>
                  </a:lnTo>
                  <a:lnTo>
                    <a:pt x="155" y="333"/>
                  </a:lnTo>
                  <a:lnTo>
                    <a:pt x="157" y="326"/>
                  </a:lnTo>
                  <a:lnTo>
                    <a:pt x="159" y="319"/>
                  </a:lnTo>
                  <a:lnTo>
                    <a:pt x="162" y="312"/>
                  </a:lnTo>
                  <a:lnTo>
                    <a:pt x="165" y="305"/>
                  </a:lnTo>
                  <a:lnTo>
                    <a:pt x="170" y="299"/>
                  </a:lnTo>
                  <a:lnTo>
                    <a:pt x="174" y="293"/>
                  </a:lnTo>
                  <a:lnTo>
                    <a:pt x="179" y="287"/>
                  </a:lnTo>
                  <a:close/>
                  <a:moveTo>
                    <a:pt x="31" y="75"/>
                  </a:moveTo>
                  <a:lnTo>
                    <a:pt x="31" y="68"/>
                  </a:lnTo>
                  <a:lnTo>
                    <a:pt x="32" y="62"/>
                  </a:lnTo>
                  <a:lnTo>
                    <a:pt x="34" y="56"/>
                  </a:lnTo>
                  <a:lnTo>
                    <a:pt x="37" y="51"/>
                  </a:lnTo>
                  <a:lnTo>
                    <a:pt x="40" y="47"/>
                  </a:lnTo>
                  <a:lnTo>
                    <a:pt x="44" y="44"/>
                  </a:lnTo>
                  <a:lnTo>
                    <a:pt x="48" y="40"/>
                  </a:lnTo>
                  <a:lnTo>
                    <a:pt x="53" y="37"/>
                  </a:lnTo>
                  <a:lnTo>
                    <a:pt x="62" y="34"/>
                  </a:lnTo>
                  <a:lnTo>
                    <a:pt x="72" y="32"/>
                  </a:lnTo>
                  <a:lnTo>
                    <a:pt x="82" y="30"/>
                  </a:lnTo>
                  <a:lnTo>
                    <a:pt x="91" y="30"/>
                  </a:lnTo>
                  <a:lnTo>
                    <a:pt x="737" y="30"/>
                  </a:lnTo>
                  <a:lnTo>
                    <a:pt x="740" y="30"/>
                  </a:lnTo>
                  <a:lnTo>
                    <a:pt x="742" y="29"/>
                  </a:lnTo>
                  <a:lnTo>
                    <a:pt x="746" y="27"/>
                  </a:lnTo>
                  <a:lnTo>
                    <a:pt x="748" y="25"/>
                  </a:lnTo>
                  <a:lnTo>
                    <a:pt x="750" y="23"/>
                  </a:lnTo>
                  <a:lnTo>
                    <a:pt x="751" y="21"/>
                  </a:lnTo>
                  <a:lnTo>
                    <a:pt x="752" y="18"/>
                  </a:lnTo>
                  <a:lnTo>
                    <a:pt x="752" y="15"/>
                  </a:lnTo>
                  <a:lnTo>
                    <a:pt x="752" y="11"/>
                  </a:lnTo>
                  <a:lnTo>
                    <a:pt x="751" y="9"/>
                  </a:lnTo>
                  <a:lnTo>
                    <a:pt x="750" y="6"/>
                  </a:lnTo>
                  <a:lnTo>
                    <a:pt x="748" y="4"/>
                  </a:lnTo>
                  <a:lnTo>
                    <a:pt x="746" y="3"/>
                  </a:lnTo>
                  <a:lnTo>
                    <a:pt x="742" y="1"/>
                  </a:lnTo>
                  <a:lnTo>
                    <a:pt x="740" y="0"/>
                  </a:lnTo>
                  <a:lnTo>
                    <a:pt x="737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1" y="1"/>
                  </a:lnTo>
                  <a:lnTo>
                    <a:pt x="62" y="3"/>
                  </a:lnTo>
                  <a:lnTo>
                    <a:pt x="54" y="5"/>
                  </a:lnTo>
                  <a:lnTo>
                    <a:pt x="45" y="8"/>
                  </a:lnTo>
                  <a:lnTo>
                    <a:pt x="38" y="11"/>
                  </a:lnTo>
                  <a:lnTo>
                    <a:pt x="31" y="16"/>
                  </a:lnTo>
                  <a:lnTo>
                    <a:pt x="25" y="20"/>
                  </a:lnTo>
                  <a:lnTo>
                    <a:pt x="19" y="25"/>
                  </a:lnTo>
                  <a:lnTo>
                    <a:pt x="14" y="31"/>
                  </a:lnTo>
                  <a:lnTo>
                    <a:pt x="11" y="37"/>
                  </a:lnTo>
                  <a:lnTo>
                    <a:pt x="7" y="44"/>
                  </a:lnTo>
                  <a:lnTo>
                    <a:pt x="4" y="51"/>
                  </a:lnTo>
                  <a:lnTo>
                    <a:pt x="2" y="59"/>
                  </a:lnTo>
                  <a:lnTo>
                    <a:pt x="1" y="66"/>
                  </a:lnTo>
                  <a:lnTo>
                    <a:pt x="0" y="75"/>
                  </a:lnTo>
                  <a:lnTo>
                    <a:pt x="0" y="202"/>
                  </a:lnTo>
                  <a:lnTo>
                    <a:pt x="61" y="202"/>
                  </a:lnTo>
                  <a:lnTo>
                    <a:pt x="67" y="203"/>
                  </a:lnTo>
                  <a:lnTo>
                    <a:pt x="72" y="204"/>
                  </a:lnTo>
                  <a:lnTo>
                    <a:pt x="77" y="208"/>
                  </a:lnTo>
                  <a:lnTo>
                    <a:pt x="82" y="211"/>
                  </a:lnTo>
                  <a:lnTo>
                    <a:pt x="86" y="216"/>
                  </a:lnTo>
                  <a:lnTo>
                    <a:pt x="88" y="221"/>
                  </a:lnTo>
                  <a:lnTo>
                    <a:pt x="90" y="227"/>
                  </a:lnTo>
                  <a:lnTo>
                    <a:pt x="91" y="232"/>
                  </a:lnTo>
                  <a:lnTo>
                    <a:pt x="90" y="239"/>
                  </a:lnTo>
                  <a:lnTo>
                    <a:pt x="88" y="244"/>
                  </a:lnTo>
                  <a:lnTo>
                    <a:pt x="86" y="249"/>
                  </a:lnTo>
                  <a:lnTo>
                    <a:pt x="82" y="254"/>
                  </a:lnTo>
                  <a:lnTo>
                    <a:pt x="77" y="257"/>
                  </a:lnTo>
                  <a:lnTo>
                    <a:pt x="72" y="260"/>
                  </a:lnTo>
                  <a:lnTo>
                    <a:pt x="67" y="262"/>
                  </a:lnTo>
                  <a:lnTo>
                    <a:pt x="61" y="262"/>
                  </a:lnTo>
                  <a:lnTo>
                    <a:pt x="0" y="262"/>
                  </a:lnTo>
                  <a:lnTo>
                    <a:pt x="0" y="328"/>
                  </a:lnTo>
                  <a:lnTo>
                    <a:pt x="61" y="328"/>
                  </a:lnTo>
                  <a:lnTo>
                    <a:pt x="67" y="329"/>
                  </a:lnTo>
                  <a:lnTo>
                    <a:pt x="72" y="331"/>
                  </a:lnTo>
                  <a:lnTo>
                    <a:pt x="77" y="333"/>
                  </a:lnTo>
                  <a:lnTo>
                    <a:pt x="82" y="337"/>
                  </a:lnTo>
                  <a:lnTo>
                    <a:pt x="86" y="342"/>
                  </a:lnTo>
                  <a:lnTo>
                    <a:pt x="88" y="347"/>
                  </a:lnTo>
                  <a:lnTo>
                    <a:pt x="90" y="352"/>
                  </a:lnTo>
                  <a:lnTo>
                    <a:pt x="91" y="359"/>
                  </a:lnTo>
                  <a:lnTo>
                    <a:pt x="90" y="364"/>
                  </a:lnTo>
                  <a:lnTo>
                    <a:pt x="88" y="371"/>
                  </a:lnTo>
                  <a:lnTo>
                    <a:pt x="86" y="375"/>
                  </a:lnTo>
                  <a:lnTo>
                    <a:pt x="82" y="379"/>
                  </a:lnTo>
                  <a:lnTo>
                    <a:pt x="77" y="384"/>
                  </a:lnTo>
                  <a:lnTo>
                    <a:pt x="72" y="386"/>
                  </a:lnTo>
                  <a:lnTo>
                    <a:pt x="67" y="388"/>
                  </a:lnTo>
                  <a:lnTo>
                    <a:pt x="61" y="389"/>
                  </a:lnTo>
                  <a:lnTo>
                    <a:pt x="0" y="388"/>
                  </a:lnTo>
                  <a:lnTo>
                    <a:pt x="0" y="454"/>
                  </a:lnTo>
                  <a:lnTo>
                    <a:pt x="61" y="454"/>
                  </a:lnTo>
                  <a:lnTo>
                    <a:pt x="67" y="454"/>
                  </a:lnTo>
                  <a:lnTo>
                    <a:pt x="72" y="457"/>
                  </a:lnTo>
                  <a:lnTo>
                    <a:pt x="77" y="460"/>
                  </a:lnTo>
                  <a:lnTo>
                    <a:pt x="82" y="463"/>
                  </a:lnTo>
                  <a:lnTo>
                    <a:pt x="86" y="467"/>
                  </a:lnTo>
                  <a:lnTo>
                    <a:pt x="88" y="473"/>
                  </a:lnTo>
                  <a:lnTo>
                    <a:pt x="90" y="478"/>
                  </a:lnTo>
                  <a:lnTo>
                    <a:pt x="91" y="484"/>
                  </a:lnTo>
                  <a:lnTo>
                    <a:pt x="90" y="491"/>
                  </a:lnTo>
                  <a:lnTo>
                    <a:pt x="88" y="496"/>
                  </a:lnTo>
                  <a:lnTo>
                    <a:pt x="86" y="502"/>
                  </a:lnTo>
                  <a:lnTo>
                    <a:pt x="82" y="506"/>
                  </a:lnTo>
                  <a:lnTo>
                    <a:pt x="77" y="509"/>
                  </a:lnTo>
                  <a:lnTo>
                    <a:pt x="72" y="512"/>
                  </a:lnTo>
                  <a:lnTo>
                    <a:pt x="67" y="513"/>
                  </a:lnTo>
                  <a:lnTo>
                    <a:pt x="61" y="514"/>
                  </a:lnTo>
                  <a:lnTo>
                    <a:pt x="0" y="514"/>
                  </a:lnTo>
                  <a:lnTo>
                    <a:pt x="0" y="580"/>
                  </a:lnTo>
                  <a:lnTo>
                    <a:pt x="61" y="580"/>
                  </a:lnTo>
                  <a:lnTo>
                    <a:pt x="67" y="581"/>
                  </a:lnTo>
                  <a:lnTo>
                    <a:pt x="72" y="582"/>
                  </a:lnTo>
                  <a:lnTo>
                    <a:pt x="77" y="585"/>
                  </a:lnTo>
                  <a:lnTo>
                    <a:pt x="82" y="588"/>
                  </a:lnTo>
                  <a:lnTo>
                    <a:pt x="86" y="594"/>
                  </a:lnTo>
                  <a:lnTo>
                    <a:pt x="88" y="598"/>
                  </a:lnTo>
                  <a:lnTo>
                    <a:pt x="90" y="605"/>
                  </a:lnTo>
                  <a:lnTo>
                    <a:pt x="91" y="610"/>
                  </a:lnTo>
                  <a:lnTo>
                    <a:pt x="90" y="616"/>
                  </a:lnTo>
                  <a:lnTo>
                    <a:pt x="88" y="622"/>
                  </a:lnTo>
                  <a:lnTo>
                    <a:pt x="86" y="627"/>
                  </a:lnTo>
                  <a:lnTo>
                    <a:pt x="82" y="631"/>
                  </a:lnTo>
                  <a:lnTo>
                    <a:pt x="77" y="635"/>
                  </a:lnTo>
                  <a:lnTo>
                    <a:pt x="72" y="638"/>
                  </a:lnTo>
                  <a:lnTo>
                    <a:pt x="67" y="640"/>
                  </a:lnTo>
                  <a:lnTo>
                    <a:pt x="61" y="640"/>
                  </a:lnTo>
                  <a:lnTo>
                    <a:pt x="0" y="640"/>
                  </a:lnTo>
                  <a:lnTo>
                    <a:pt x="0" y="706"/>
                  </a:lnTo>
                  <a:lnTo>
                    <a:pt x="61" y="706"/>
                  </a:lnTo>
                  <a:lnTo>
                    <a:pt x="67" y="706"/>
                  </a:lnTo>
                  <a:lnTo>
                    <a:pt x="72" y="709"/>
                  </a:lnTo>
                  <a:lnTo>
                    <a:pt x="77" y="711"/>
                  </a:lnTo>
                  <a:lnTo>
                    <a:pt x="82" y="715"/>
                  </a:lnTo>
                  <a:lnTo>
                    <a:pt x="86" y="719"/>
                  </a:lnTo>
                  <a:lnTo>
                    <a:pt x="88" y="725"/>
                  </a:lnTo>
                  <a:lnTo>
                    <a:pt x="90" y="730"/>
                  </a:lnTo>
                  <a:lnTo>
                    <a:pt x="91" y="736"/>
                  </a:lnTo>
                  <a:lnTo>
                    <a:pt x="90" y="742"/>
                  </a:lnTo>
                  <a:lnTo>
                    <a:pt x="88" y="748"/>
                  </a:lnTo>
                  <a:lnTo>
                    <a:pt x="86" y="753"/>
                  </a:lnTo>
                  <a:lnTo>
                    <a:pt x="82" y="757"/>
                  </a:lnTo>
                  <a:lnTo>
                    <a:pt x="77" y="761"/>
                  </a:lnTo>
                  <a:lnTo>
                    <a:pt x="72" y="763"/>
                  </a:lnTo>
                  <a:lnTo>
                    <a:pt x="67" y="765"/>
                  </a:lnTo>
                  <a:lnTo>
                    <a:pt x="61" y="766"/>
                  </a:lnTo>
                  <a:lnTo>
                    <a:pt x="0" y="766"/>
                  </a:lnTo>
                  <a:lnTo>
                    <a:pt x="0" y="782"/>
                  </a:lnTo>
                  <a:lnTo>
                    <a:pt x="1" y="790"/>
                  </a:lnTo>
                  <a:lnTo>
                    <a:pt x="2" y="800"/>
                  </a:lnTo>
                  <a:lnTo>
                    <a:pt x="4" y="808"/>
                  </a:lnTo>
                  <a:lnTo>
                    <a:pt x="8" y="817"/>
                  </a:lnTo>
                  <a:lnTo>
                    <a:pt x="12" y="824"/>
                  </a:lnTo>
                  <a:lnTo>
                    <a:pt x="16" y="832"/>
                  </a:lnTo>
                  <a:lnTo>
                    <a:pt x="20" y="838"/>
                  </a:lnTo>
                  <a:lnTo>
                    <a:pt x="27" y="845"/>
                  </a:lnTo>
                  <a:lnTo>
                    <a:pt x="33" y="851"/>
                  </a:lnTo>
                  <a:lnTo>
                    <a:pt x="40" y="857"/>
                  </a:lnTo>
                  <a:lnTo>
                    <a:pt x="47" y="861"/>
                  </a:lnTo>
                  <a:lnTo>
                    <a:pt x="56" y="864"/>
                  </a:lnTo>
                  <a:lnTo>
                    <a:pt x="63" y="867"/>
                  </a:lnTo>
                  <a:lnTo>
                    <a:pt x="72" y="869"/>
                  </a:lnTo>
                  <a:lnTo>
                    <a:pt x="82" y="871"/>
                  </a:lnTo>
                  <a:lnTo>
                    <a:pt x="91" y="872"/>
                  </a:lnTo>
                  <a:lnTo>
                    <a:pt x="752" y="872"/>
                  </a:lnTo>
                  <a:lnTo>
                    <a:pt x="752" y="120"/>
                  </a:lnTo>
                  <a:lnTo>
                    <a:pt x="91" y="120"/>
                  </a:lnTo>
                  <a:lnTo>
                    <a:pt x="82" y="120"/>
                  </a:lnTo>
                  <a:lnTo>
                    <a:pt x="72" y="119"/>
                  </a:lnTo>
                  <a:lnTo>
                    <a:pt x="62" y="116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44" y="107"/>
                  </a:lnTo>
                  <a:lnTo>
                    <a:pt x="40" y="103"/>
                  </a:lnTo>
                  <a:lnTo>
                    <a:pt x="37" y="98"/>
                  </a:lnTo>
                  <a:lnTo>
                    <a:pt x="34" y="94"/>
                  </a:lnTo>
                  <a:lnTo>
                    <a:pt x="32" y="89"/>
                  </a:lnTo>
                  <a:lnTo>
                    <a:pt x="31" y="82"/>
                  </a:lnTo>
                  <a:lnTo>
                    <a:pt x="31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2" name="Freeform 2014"/>
            <p:cNvSpPr/>
            <p:nvPr/>
          </p:nvSpPr>
          <p:spPr bwMode="auto">
            <a:xfrm>
              <a:off x="11310938" y="1368425"/>
              <a:ext cx="201613" cy="9525"/>
            </a:xfrm>
            <a:custGeom>
              <a:avLst/>
              <a:gdLst>
                <a:gd name="T0" fmla="*/ 15 w 637"/>
                <a:gd name="T1" fmla="*/ 0 h 30"/>
                <a:gd name="T2" fmla="*/ 13 w 637"/>
                <a:gd name="T3" fmla="*/ 0 h 30"/>
                <a:gd name="T4" fmla="*/ 10 w 637"/>
                <a:gd name="T5" fmla="*/ 1 h 30"/>
                <a:gd name="T6" fmla="*/ 8 w 637"/>
                <a:gd name="T7" fmla="*/ 3 h 30"/>
                <a:gd name="T8" fmla="*/ 5 w 637"/>
                <a:gd name="T9" fmla="*/ 4 h 30"/>
                <a:gd name="T10" fmla="*/ 4 w 637"/>
                <a:gd name="T11" fmla="*/ 6 h 30"/>
                <a:gd name="T12" fmla="*/ 1 w 637"/>
                <a:gd name="T13" fmla="*/ 9 h 30"/>
                <a:gd name="T14" fmla="*/ 1 w 637"/>
                <a:gd name="T15" fmla="*/ 11 h 30"/>
                <a:gd name="T16" fmla="*/ 0 w 637"/>
                <a:gd name="T17" fmla="*/ 15 h 30"/>
                <a:gd name="T18" fmla="*/ 1 w 637"/>
                <a:gd name="T19" fmla="*/ 18 h 30"/>
                <a:gd name="T20" fmla="*/ 1 w 637"/>
                <a:gd name="T21" fmla="*/ 21 h 30"/>
                <a:gd name="T22" fmla="*/ 4 w 637"/>
                <a:gd name="T23" fmla="*/ 23 h 30"/>
                <a:gd name="T24" fmla="*/ 5 w 637"/>
                <a:gd name="T25" fmla="*/ 25 h 30"/>
                <a:gd name="T26" fmla="*/ 8 w 637"/>
                <a:gd name="T27" fmla="*/ 28 h 30"/>
                <a:gd name="T28" fmla="*/ 10 w 637"/>
                <a:gd name="T29" fmla="*/ 29 h 30"/>
                <a:gd name="T30" fmla="*/ 13 w 637"/>
                <a:gd name="T31" fmla="*/ 30 h 30"/>
                <a:gd name="T32" fmla="*/ 15 w 637"/>
                <a:gd name="T33" fmla="*/ 30 h 30"/>
                <a:gd name="T34" fmla="*/ 622 w 637"/>
                <a:gd name="T35" fmla="*/ 30 h 30"/>
                <a:gd name="T36" fmla="*/ 625 w 637"/>
                <a:gd name="T37" fmla="*/ 30 h 30"/>
                <a:gd name="T38" fmla="*/ 628 w 637"/>
                <a:gd name="T39" fmla="*/ 29 h 30"/>
                <a:gd name="T40" fmla="*/ 630 w 637"/>
                <a:gd name="T41" fmla="*/ 28 h 30"/>
                <a:gd name="T42" fmla="*/ 633 w 637"/>
                <a:gd name="T43" fmla="*/ 25 h 30"/>
                <a:gd name="T44" fmla="*/ 634 w 637"/>
                <a:gd name="T45" fmla="*/ 23 h 30"/>
                <a:gd name="T46" fmla="*/ 636 w 637"/>
                <a:gd name="T47" fmla="*/ 21 h 30"/>
                <a:gd name="T48" fmla="*/ 636 w 637"/>
                <a:gd name="T49" fmla="*/ 18 h 30"/>
                <a:gd name="T50" fmla="*/ 637 w 637"/>
                <a:gd name="T51" fmla="*/ 15 h 30"/>
                <a:gd name="T52" fmla="*/ 636 w 637"/>
                <a:gd name="T53" fmla="*/ 11 h 30"/>
                <a:gd name="T54" fmla="*/ 636 w 637"/>
                <a:gd name="T55" fmla="*/ 9 h 30"/>
                <a:gd name="T56" fmla="*/ 634 w 637"/>
                <a:gd name="T57" fmla="*/ 6 h 30"/>
                <a:gd name="T58" fmla="*/ 633 w 637"/>
                <a:gd name="T59" fmla="*/ 4 h 30"/>
                <a:gd name="T60" fmla="*/ 630 w 637"/>
                <a:gd name="T61" fmla="*/ 3 h 30"/>
                <a:gd name="T62" fmla="*/ 628 w 637"/>
                <a:gd name="T63" fmla="*/ 1 h 30"/>
                <a:gd name="T64" fmla="*/ 625 w 637"/>
                <a:gd name="T65" fmla="*/ 0 h 30"/>
                <a:gd name="T66" fmla="*/ 622 w 637"/>
                <a:gd name="T67" fmla="*/ 0 h 30"/>
                <a:gd name="T68" fmla="*/ 15 w 637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7" h="30">
                  <a:moveTo>
                    <a:pt x="15" y="0"/>
                  </a:move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9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3"/>
                  </a:lnTo>
                  <a:lnTo>
                    <a:pt x="5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622" y="30"/>
                  </a:lnTo>
                  <a:lnTo>
                    <a:pt x="625" y="30"/>
                  </a:lnTo>
                  <a:lnTo>
                    <a:pt x="628" y="29"/>
                  </a:lnTo>
                  <a:lnTo>
                    <a:pt x="630" y="28"/>
                  </a:lnTo>
                  <a:lnTo>
                    <a:pt x="633" y="25"/>
                  </a:lnTo>
                  <a:lnTo>
                    <a:pt x="634" y="23"/>
                  </a:lnTo>
                  <a:lnTo>
                    <a:pt x="636" y="21"/>
                  </a:lnTo>
                  <a:lnTo>
                    <a:pt x="636" y="18"/>
                  </a:lnTo>
                  <a:lnTo>
                    <a:pt x="637" y="15"/>
                  </a:lnTo>
                  <a:lnTo>
                    <a:pt x="636" y="11"/>
                  </a:lnTo>
                  <a:lnTo>
                    <a:pt x="636" y="9"/>
                  </a:lnTo>
                  <a:lnTo>
                    <a:pt x="634" y="6"/>
                  </a:lnTo>
                  <a:lnTo>
                    <a:pt x="633" y="4"/>
                  </a:lnTo>
                  <a:lnTo>
                    <a:pt x="630" y="3"/>
                  </a:lnTo>
                  <a:lnTo>
                    <a:pt x="628" y="1"/>
                  </a:lnTo>
                  <a:lnTo>
                    <a:pt x="625" y="0"/>
                  </a:lnTo>
                  <a:lnTo>
                    <a:pt x="622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3" name="Freeform 2015"/>
            <p:cNvSpPr/>
            <p:nvPr/>
          </p:nvSpPr>
          <p:spPr bwMode="auto">
            <a:xfrm>
              <a:off x="11272838" y="1417638"/>
              <a:ext cx="38100" cy="9525"/>
            </a:xfrm>
            <a:custGeom>
              <a:avLst/>
              <a:gdLst>
                <a:gd name="T0" fmla="*/ 15 w 121"/>
                <a:gd name="T1" fmla="*/ 30 h 30"/>
                <a:gd name="T2" fmla="*/ 106 w 121"/>
                <a:gd name="T3" fmla="*/ 30 h 30"/>
                <a:gd name="T4" fmla="*/ 108 w 121"/>
                <a:gd name="T5" fmla="*/ 30 h 30"/>
                <a:gd name="T6" fmla="*/ 112 w 121"/>
                <a:gd name="T7" fmla="*/ 29 h 30"/>
                <a:gd name="T8" fmla="*/ 114 w 121"/>
                <a:gd name="T9" fmla="*/ 28 h 30"/>
                <a:gd name="T10" fmla="*/ 116 w 121"/>
                <a:gd name="T11" fmla="*/ 26 h 30"/>
                <a:gd name="T12" fmla="*/ 118 w 121"/>
                <a:gd name="T13" fmla="*/ 24 h 30"/>
                <a:gd name="T14" fmla="*/ 119 w 121"/>
                <a:gd name="T15" fmla="*/ 22 h 30"/>
                <a:gd name="T16" fmla="*/ 120 w 121"/>
                <a:gd name="T17" fmla="*/ 19 h 30"/>
                <a:gd name="T18" fmla="*/ 121 w 121"/>
                <a:gd name="T19" fmla="*/ 15 h 30"/>
                <a:gd name="T20" fmla="*/ 120 w 121"/>
                <a:gd name="T21" fmla="*/ 12 h 30"/>
                <a:gd name="T22" fmla="*/ 119 w 121"/>
                <a:gd name="T23" fmla="*/ 10 h 30"/>
                <a:gd name="T24" fmla="*/ 118 w 121"/>
                <a:gd name="T25" fmla="*/ 7 h 30"/>
                <a:gd name="T26" fmla="*/ 116 w 121"/>
                <a:gd name="T27" fmla="*/ 5 h 30"/>
                <a:gd name="T28" fmla="*/ 114 w 121"/>
                <a:gd name="T29" fmla="*/ 4 h 30"/>
                <a:gd name="T30" fmla="*/ 112 w 121"/>
                <a:gd name="T31" fmla="*/ 1 h 30"/>
                <a:gd name="T32" fmla="*/ 108 w 121"/>
                <a:gd name="T33" fmla="*/ 1 h 30"/>
                <a:gd name="T34" fmla="*/ 106 w 121"/>
                <a:gd name="T35" fmla="*/ 0 h 30"/>
                <a:gd name="T36" fmla="*/ 15 w 121"/>
                <a:gd name="T37" fmla="*/ 0 h 30"/>
                <a:gd name="T38" fmla="*/ 13 w 121"/>
                <a:gd name="T39" fmla="*/ 1 h 30"/>
                <a:gd name="T40" fmla="*/ 10 w 121"/>
                <a:gd name="T41" fmla="*/ 1 h 30"/>
                <a:gd name="T42" fmla="*/ 8 w 121"/>
                <a:gd name="T43" fmla="*/ 4 h 30"/>
                <a:gd name="T44" fmla="*/ 5 w 121"/>
                <a:gd name="T45" fmla="*/ 5 h 30"/>
                <a:gd name="T46" fmla="*/ 3 w 121"/>
                <a:gd name="T47" fmla="*/ 7 h 30"/>
                <a:gd name="T48" fmla="*/ 2 w 121"/>
                <a:gd name="T49" fmla="*/ 10 h 30"/>
                <a:gd name="T50" fmla="*/ 1 w 121"/>
                <a:gd name="T51" fmla="*/ 12 h 30"/>
                <a:gd name="T52" fmla="*/ 0 w 121"/>
                <a:gd name="T53" fmla="*/ 15 h 30"/>
                <a:gd name="T54" fmla="*/ 1 w 121"/>
                <a:gd name="T55" fmla="*/ 19 h 30"/>
                <a:gd name="T56" fmla="*/ 2 w 121"/>
                <a:gd name="T57" fmla="*/ 22 h 30"/>
                <a:gd name="T58" fmla="*/ 3 w 121"/>
                <a:gd name="T59" fmla="*/ 24 h 30"/>
                <a:gd name="T60" fmla="*/ 5 w 121"/>
                <a:gd name="T61" fmla="*/ 26 h 30"/>
                <a:gd name="T62" fmla="*/ 8 w 121"/>
                <a:gd name="T63" fmla="*/ 28 h 30"/>
                <a:gd name="T64" fmla="*/ 10 w 121"/>
                <a:gd name="T65" fmla="*/ 29 h 30"/>
                <a:gd name="T66" fmla="*/ 13 w 121"/>
                <a:gd name="T67" fmla="*/ 30 h 30"/>
                <a:gd name="T68" fmla="*/ 15 w 121"/>
                <a:gd name="T69" fmla="*/ 30 h 30"/>
                <a:gd name="T70" fmla="*/ 15 w 12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1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2" y="1"/>
                  </a:lnTo>
                  <a:lnTo>
                    <a:pt x="108" y="1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4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4" name="Freeform 2016"/>
            <p:cNvSpPr/>
            <p:nvPr/>
          </p:nvSpPr>
          <p:spPr bwMode="auto">
            <a:xfrm>
              <a:off x="11272838" y="1458913"/>
              <a:ext cx="38100" cy="9525"/>
            </a:xfrm>
            <a:custGeom>
              <a:avLst/>
              <a:gdLst>
                <a:gd name="T0" fmla="*/ 15 w 121"/>
                <a:gd name="T1" fmla="*/ 30 h 31"/>
                <a:gd name="T2" fmla="*/ 106 w 121"/>
                <a:gd name="T3" fmla="*/ 30 h 31"/>
                <a:gd name="T4" fmla="*/ 108 w 121"/>
                <a:gd name="T5" fmla="*/ 30 h 31"/>
                <a:gd name="T6" fmla="*/ 112 w 121"/>
                <a:gd name="T7" fmla="*/ 29 h 31"/>
                <a:gd name="T8" fmla="*/ 114 w 121"/>
                <a:gd name="T9" fmla="*/ 28 h 31"/>
                <a:gd name="T10" fmla="*/ 116 w 121"/>
                <a:gd name="T11" fmla="*/ 26 h 31"/>
                <a:gd name="T12" fmla="*/ 118 w 121"/>
                <a:gd name="T13" fmla="*/ 23 h 31"/>
                <a:gd name="T14" fmla="*/ 119 w 121"/>
                <a:gd name="T15" fmla="*/ 21 h 31"/>
                <a:gd name="T16" fmla="*/ 120 w 121"/>
                <a:gd name="T17" fmla="*/ 18 h 31"/>
                <a:gd name="T18" fmla="*/ 121 w 121"/>
                <a:gd name="T19" fmla="*/ 16 h 31"/>
                <a:gd name="T20" fmla="*/ 120 w 121"/>
                <a:gd name="T21" fmla="*/ 13 h 31"/>
                <a:gd name="T22" fmla="*/ 119 w 121"/>
                <a:gd name="T23" fmla="*/ 9 h 31"/>
                <a:gd name="T24" fmla="*/ 118 w 121"/>
                <a:gd name="T25" fmla="*/ 7 h 31"/>
                <a:gd name="T26" fmla="*/ 116 w 121"/>
                <a:gd name="T27" fmla="*/ 5 h 31"/>
                <a:gd name="T28" fmla="*/ 114 w 121"/>
                <a:gd name="T29" fmla="*/ 3 h 31"/>
                <a:gd name="T30" fmla="*/ 112 w 121"/>
                <a:gd name="T31" fmla="*/ 2 h 31"/>
                <a:gd name="T32" fmla="*/ 108 w 121"/>
                <a:gd name="T33" fmla="*/ 1 h 31"/>
                <a:gd name="T34" fmla="*/ 106 w 121"/>
                <a:gd name="T35" fmla="*/ 1 h 31"/>
                <a:gd name="T36" fmla="*/ 15 w 121"/>
                <a:gd name="T37" fmla="*/ 0 h 31"/>
                <a:gd name="T38" fmla="*/ 13 w 121"/>
                <a:gd name="T39" fmla="*/ 1 h 31"/>
                <a:gd name="T40" fmla="*/ 10 w 121"/>
                <a:gd name="T41" fmla="*/ 2 h 31"/>
                <a:gd name="T42" fmla="*/ 8 w 121"/>
                <a:gd name="T43" fmla="*/ 3 h 31"/>
                <a:gd name="T44" fmla="*/ 5 w 121"/>
                <a:gd name="T45" fmla="*/ 5 h 31"/>
                <a:gd name="T46" fmla="*/ 3 w 121"/>
                <a:gd name="T47" fmla="*/ 7 h 31"/>
                <a:gd name="T48" fmla="*/ 2 w 121"/>
                <a:gd name="T49" fmla="*/ 9 h 31"/>
                <a:gd name="T50" fmla="*/ 1 w 121"/>
                <a:gd name="T51" fmla="*/ 13 h 31"/>
                <a:gd name="T52" fmla="*/ 0 w 121"/>
                <a:gd name="T53" fmla="*/ 16 h 31"/>
                <a:gd name="T54" fmla="*/ 1 w 121"/>
                <a:gd name="T55" fmla="*/ 18 h 31"/>
                <a:gd name="T56" fmla="*/ 2 w 121"/>
                <a:gd name="T57" fmla="*/ 21 h 31"/>
                <a:gd name="T58" fmla="*/ 3 w 121"/>
                <a:gd name="T59" fmla="*/ 23 h 31"/>
                <a:gd name="T60" fmla="*/ 5 w 121"/>
                <a:gd name="T61" fmla="*/ 26 h 31"/>
                <a:gd name="T62" fmla="*/ 8 w 121"/>
                <a:gd name="T63" fmla="*/ 28 h 31"/>
                <a:gd name="T64" fmla="*/ 10 w 121"/>
                <a:gd name="T65" fmla="*/ 29 h 31"/>
                <a:gd name="T66" fmla="*/ 13 w 121"/>
                <a:gd name="T67" fmla="*/ 30 h 31"/>
                <a:gd name="T68" fmla="*/ 15 w 121"/>
                <a:gd name="T69" fmla="*/ 31 h 31"/>
                <a:gd name="T70" fmla="*/ 15 w 121"/>
                <a:gd name="T7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1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1" y="16"/>
                  </a:lnTo>
                  <a:lnTo>
                    <a:pt x="120" y="13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2" y="2"/>
                  </a:lnTo>
                  <a:lnTo>
                    <a:pt x="108" y="1"/>
                  </a:lnTo>
                  <a:lnTo>
                    <a:pt x="106" y="1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5" name="Freeform 2017"/>
            <p:cNvSpPr/>
            <p:nvPr/>
          </p:nvSpPr>
          <p:spPr bwMode="auto">
            <a:xfrm>
              <a:off x="11272838" y="1498600"/>
              <a:ext cx="38100" cy="9525"/>
            </a:xfrm>
            <a:custGeom>
              <a:avLst/>
              <a:gdLst>
                <a:gd name="T0" fmla="*/ 15 w 121"/>
                <a:gd name="T1" fmla="*/ 30 h 30"/>
                <a:gd name="T2" fmla="*/ 106 w 121"/>
                <a:gd name="T3" fmla="*/ 30 h 30"/>
                <a:gd name="T4" fmla="*/ 108 w 121"/>
                <a:gd name="T5" fmla="*/ 30 h 30"/>
                <a:gd name="T6" fmla="*/ 112 w 121"/>
                <a:gd name="T7" fmla="*/ 29 h 30"/>
                <a:gd name="T8" fmla="*/ 114 w 121"/>
                <a:gd name="T9" fmla="*/ 28 h 30"/>
                <a:gd name="T10" fmla="*/ 116 w 121"/>
                <a:gd name="T11" fmla="*/ 26 h 30"/>
                <a:gd name="T12" fmla="*/ 118 w 121"/>
                <a:gd name="T13" fmla="*/ 24 h 30"/>
                <a:gd name="T14" fmla="*/ 119 w 121"/>
                <a:gd name="T15" fmla="*/ 21 h 30"/>
                <a:gd name="T16" fmla="*/ 120 w 121"/>
                <a:gd name="T17" fmla="*/ 19 h 30"/>
                <a:gd name="T18" fmla="*/ 121 w 121"/>
                <a:gd name="T19" fmla="*/ 15 h 30"/>
                <a:gd name="T20" fmla="*/ 120 w 121"/>
                <a:gd name="T21" fmla="*/ 12 h 30"/>
                <a:gd name="T22" fmla="*/ 119 w 121"/>
                <a:gd name="T23" fmla="*/ 9 h 30"/>
                <a:gd name="T24" fmla="*/ 118 w 121"/>
                <a:gd name="T25" fmla="*/ 7 h 30"/>
                <a:gd name="T26" fmla="*/ 116 w 121"/>
                <a:gd name="T27" fmla="*/ 5 h 30"/>
                <a:gd name="T28" fmla="*/ 114 w 121"/>
                <a:gd name="T29" fmla="*/ 3 h 30"/>
                <a:gd name="T30" fmla="*/ 112 w 121"/>
                <a:gd name="T31" fmla="*/ 1 h 30"/>
                <a:gd name="T32" fmla="*/ 108 w 121"/>
                <a:gd name="T33" fmla="*/ 0 h 30"/>
                <a:gd name="T34" fmla="*/ 106 w 121"/>
                <a:gd name="T35" fmla="*/ 0 h 30"/>
                <a:gd name="T36" fmla="*/ 15 w 121"/>
                <a:gd name="T37" fmla="*/ 0 h 30"/>
                <a:gd name="T38" fmla="*/ 13 w 121"/>
                <a:gd name="T39" fmla="*/ 0 h 30"/>
                <a:gd name="T40" fmla="*/ 10 w 121"/>
                <a:gd name="T41" fmla="*/ 1 h 30"/>
                <a:gd name="T42" fmla="*/ 8 w 121"/>
                <a:gd name="T43" fmla="*/ 3 h 30"/>
                <a:gd name="T44" fmla="*/ 5 w 121"/>
                <a:gd name="T45" fmla="*/ 5 h 30"/>
                <a:gd name="T46" fmla="*/ 3 w 121"/>
                <a:gd name="T47" fmla="*/ 7 h 30"/>
                <a:gd name="T48" fmla="*/ 2 w 121"/>
                <a:gd name="T49" fmla="*/ 10 h 30"/>
                <a:gd name="T50" fmla="*/ 1 w 121"/>
                <a:gd name="T51" fmla="*/ 12 h 30"/>
                <a:gd name="T52" fmla="*/ 0 w 121"/>
                <a:gd name="T53" fmla="*/ 15 h 30"/>
                <a:gd name="T54" fmla="*/ 1 w 121"/>
                <a:gd name="T55" fmla="*/ 19 h 30"/>
                <a:gd name="T56" fmla="*/ 2 w 121"/>
                <a:gd name="T57" fmla="*/ 21 h 30"/>
                <a:gd name="T58" fmla="*/ 3 w 121"/>
                <a:gd name="T59" fmla="*/ 24 h 30"/>
                <a:gd name="T60" fmla="*/ 5 w 121"/>
                <a:gd name="T61" fmla="*/ 26 h 30"/>
                <a:gd name="T62" fmla="*/ 8 w 121"/>
                <a:gd name="T63" fmla="*/ 28 h 30"/>
                <a:gd name="T64" fmla="*/ 10 w 121"/>
                <a:gd name="T65" fmla="*/ 29 h 30"/>
                <a:gd name="T66" fmla="*/ 13 w 121"/>
                <a:gd name="T67" fmla="*/ 30 h 30"/>
                <a:gd name="T68" fmla="*/ 15 w 121"/>
                <a:gd name="T69" fmla="*/ 30 h 30"/>
                <a:gd name="T70" fmla="*/ 15 w 12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1"/>
                  </a:lnTo>
                  <a:lnTo>
                    <a:pt x="120" y="19"/>
                  </a:lnTo>
                  <a:lnTo>
                    <a:pt x="121" y="15"/>
                  </a:lnTo>
                  <a:lnTo>
                    <a:pt x="120" y="12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6" name="Freeform 2018"/>
            <p:cNvSpPr/>
            <p:nvPr/>
          </p:nvSpPr>
          <p:spPr bwMode="auto">
            <a:xfrm>
              <a:off x="11272838" y="1538288"/>
              <a:ext cx="38100" cy="9525"/>
            </a:xfrm>
            <a:custGeom>
              <a:avLst/>
              <a:gdLst>
                <a:gd name="T0" fmla="*/ 15 w 121"/>
                <a:gd name="T1" fmla="*/ 30 h 30"/>
                <a:gd name="T2" fmla="*/ 106 w 121"/>
                <a:gd name="T3" fmla="*/ 30 h 30"/>
                <a:gd name="T4" fmla="*/ 108 w 121"/>
                <a:gd name="T5" fmla="*/ 30 h 30"/>
                <a:gd name="T6" fmla="*/ 112 w 121"/>
                <a:gd name="T7" fmla="*/ 29 h 30"/>
                <a:gd name="T8" fmla="*/ 114 w 121"/>
                <a:gd name="T9" fmla="*/ 28 h 30"/>
                <a:gd name="T10" fmla="*/ 116 w 121"/>
                <a:gd name="T11" fmla="*/ 26 h 30"/>
                <a:gd name="T12" fmla="*/ 118 w 121"/>
                <a:gd name="T13" fmla="*/ 23 h 30"/>
                <a:gd name="T14" fmla="*/ 119 w 121"/>
                <a:gd name="T15" fmla="*/ 21 h 30"/>
                <a:gd name="T16" fmla="*/ 120 w 121"/>
                <a:gd name="T17" fmla="*/ 18 h 30"/>
                <a:gd name="T18" fmla="*/ 121 w 121"/>
                <a:gd name="T19" fmla="*/ 15 h 30"/>
                <a:gd name="T20" fmla="*/ 120 w 121"/>
                <a:gd name="T21" fmla="*/ 12 h 30"/>
                <a:gd name="T22" fmla="*/ 119 w 121"/>
                <a:gd name="T23" fmla="*/ 10 h 30"/>
                <a:gd name="T24" fmla="*/ 118 w 121"/>
                <a:gd name="T25" fmla="*/ 6 h 30"/>
                <a:gd name="T26" fmla="*/ 116 w 121"/>
                <a:gd name="T27" fmla="*/ 4 h 30"/>
                <a:gd name="T28" fmla="*/ 114 w 121"/>
                <a:gd name="T29" fmla="*/ 3 h 30"/>
                <a:gd name="T30" fmla="*/ 112 w 121"/>
                <a:gd name="T31" fmla="*/ 1 h 30"/>
                <a:gd name="T32" fmla="*/ 108 w 121"/>
                <a:gd name="T33" fmla="*/ 0 h 30"/>
                <a:gd name="T34" fmla="*/ 106 w 121"/>
                <a:gd name="T35" fmla="*/ 0 h 30"/>
                <a:gd name="T36" fmla="*/ 15 w 121"/>
                <a:gd name="T37" fmla="*/ 0 h 30"/>
                <a:gd name="T38" fmla="*/ 13 w 121"/>
                <a:gd name="T39" fmla="*/ 0 h 30"/>
                <a:gd name="T40" fmla="*/ 10 w 121"/>
                <a:gd name="T41" fmla="*/ 1 h 30"/>
                <a:gd name="T42" fmla="*/ 8 w 121"/>
                <a:gd name="T43" fmla="*/ 3 h 30"/>
                <a:gd name="T44" fmla="*/ 5 w 121"/>
                <a:gd name="T45" fmla="*/ 4 h 30"/>
                <a:gd name="T46" fmla="*/ 3 w 121"/>
                <a:gd name="T47" fmla="*/ 6 h 30"/>
                <a:gd name="T48" fmla="*/ 2 w 121"/>
                <a:gd name="T49" fmla="*/ 10 h 30"/>
                <a:gd name="T50" fmla="*/ 1 w 121"/>
                <a:gd name="T51" fmla="*/ 12 h 30"/>
                <a:gd name="T52" fmla="*/ 0 w 121"/>
                <a:gd name="T53" fmla="*/ 15 h 30"/>
                <a:gd name="T54" fmla="*/ 1 w 121"/>
                <a:gd name="T55" fmla="*/ 18 h 30"/>
                <a:gd name="T56" fmla="*/ 2 w 121"/>
                <a:gd name="T57" fmla="*/ 21 h 30"/>
                <a:gd name="T58" fmla="*/ 3 w 121"/>
                <a:gd name="T59" fmla="*/ 23 h 30"/>
                <a:gd name="T60" fmla="*/ 5 w 121"/>
                <a:gd name="T61" fmla="*/ 26 h 30"/>
                <a:gd name="T62" fmla="*/ 8 w 121"/>
                <a:gd name="T63" fmla="*/ 28 h 30"/>
                <a:gd name="T64" fmla="*/ 10 w 121"/>
                <a:gd name="T65" fmla="*/ 29 h 30"/>
                <a:gd name="T66" fmla="*/ 13 w 121"/>
                <a:gd name="T67" fmla="*/ 30 h 30"/>
                <a:gd name="T68" fmla="*/ 15 w 121"/>
                <a:gd name="T69" fmla="*/ 30 h 30"/>
                <a:gd name="T70" fmla="*/ 15 w 12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1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8" name="Freeform 2019"/>
            <p:cNvSpPr/>
            <p:nvPr/>
          </p:nvSpPr>
          <p:spPr bwMode="auto">
            <a:xfrm>
              <a:off x="11272838" y="1577975"/>
              <a:ext cx="38100" cy="9525"/>
            </a:xfrm>
            <a:custGeom>
              <a:avLst/>
              <a:gdLst>
                <a:gd name="T0" fmla="*/ 121 w 121"/>
                <a:gd name="T1" fmla="*/ 15 h 30"/>
                <a:gd name="T2" fmla="*/ 120 w 121"/>
                <a:gd name="T3" fmla="*/ 12 h 30"/>
                <a:gd name="T4" fmla="*/ 119 w 121"/>
                <a:gd name="T5" fmla="*/ 9 h 30"/>
                <a:gd name="T6" fmla="*/ 118 w 121"/>
                <a:gd name="T7" fmla="*/ 7 h 30"/>
                <a:gd name="T8" fmla="*/ 116 w 121"/>
                <a:gd name="T9" fmla="*/ 5 h 30"/>
                <a:gd name="T10" fmla="*/ 114 w 121"/>
                <a:gd name="T11" fmla="*/ 3 h 30"/>
                <a:gd name="T12" fmla="*/ 112 w 121"/>
                <a:gd name="T13" fmla="*/ 2 h 30"/>
                <a:gd name="T14" fmla="*/ 108 w 121"/>
                <a:gd name="T15" fmla="*/ 0 h 30"/>
                <a:gd name="T16" fmla="*/ 106 w 121"/>
                <a:gd name="T17" fmla="*/ 0 h 30"/>
                <a:gd name="T18" fmla="*/ 15 w 121"/>
                <a:gd name="T19" fmla="*/ 0 h 30"/>
                <a:gd name="T20" fmla="*/ 13 w 121"/>
                <a:gd name="T21" fmla="*/ 0 h 30"/>
                <a:gd name="T22" fmla="*/ 10 w 121"/>
                <a:gd name="T23" fmla="*/ 2 h 30"/>
                <a:gd name="T24" fmla="*/ 8 w 121"/>
                <a:gd name="T25" fmla="*/ 3 h 30"/>
                <a:gd name="T26" fmla="*/ 5 w 121"/>
                <a:gd name="T27" fmla="*/ 5 h 30"/>
                <a:gd name="T28" fmla="*/ 3 w 121"/>
                <a:gd name="T29" fmla="*/ 7 h 30"/>
                <a:gd name="T30" fmla="*/ 2 w 121"/>
                <a:gd name="T31" fmla="*/ 9 h 30"/>
                <a:gd name="T32" fmla="*/ 1 w 121"/>
                <a:gd name="T33" fmla="*/ 12 h 30"/>
                <a:gd name="T34" fmla="*/ 0 w 121"/>
                <a:gd name="T35" fmla="*/ 15 h 30"/>
                <a:gd name="T36" fmla="*/ 1 w 121"/>
                <a:gd name="T37" fmla="*/ 18 h 30"/>
                <a:gd name="T38" fmla="*/ 2 w 121"/>
                <a:gd name="T39" fmla="*/ 21 h 30"/>
                <a:gd name="T40" fmla="*/ 3 w 121"/>
                <a:gd name="T41" fmla="*/ 23 h 30"/>
                <a:gd name="T42" fmla="*/ 5 w 121"/>
                <a:gd name="T43" fmla="*/ 26 h 30"/>
                <a:gd name="T44" fmla="*/ 8 w 121"/>
                <a:gd name="T45" fmla="*/ 27 h 30"/>
                <a:gd name="T46" fmla="*/ 10 w 121"/>
                <a:gd name="T47" fmla="*/ 29 h 30"/>
                <a:gd name="T48" fmla="*/ 13 w 121"/>
                <a:gd name="T49" fmla="*/ 29 h 30"/>
                <a:gd name="T50" fmla="*/ 15 w 121"/>
                <a:gd name="T51" fmla="*/ 30 h 30"/>
                <a:gd name="T52" fmla="*/ 106 w 121"/>
                <a:gd name="T53" fmla="*/ 30 h 30"/>
                <a:gd name="T54" fmla="*/ 108 w 121"/>
                <a:gd name="T55" fmla="*/ 29 h 30"/>
                <a:gd name="T56" fmla="*/ 112 w 121"/>
                <a:gd name="T57" fmla="*/ 29 h 30"/>
                <a:gd name="T58" fmla="*/ 114 w 121"/>
                <a:gd name="T59" fmla="*/ 27 h 30"/>
                <a:gd name="T60" fmla="*/ 116 w 121"/>
                <a:gd name="T61" fmla="*/ 26 h 30"/>
                <a:gd name="T62" fmla="*/ 118 w 121"/>
                <a:gd name="T63" fmla="*/ 23 h 30"/>
                <a:gd name="T64" fmla="*/ 119 w 121"/>
                <a:gd name="T65" fmla="*/ 21 h 30"/>
                <a:gd name="T66" fmla="*/ 120 w 121"/>
                <a:gd name="T67" fmla="*/ 18 h 30"/>
                <a:gd name="T68" fmla="*/ 121 w 121"/>
                <a:gd name="T69" fmla="*/ 15 h 30"/>
                <a:gd name="T70" fmla="*/ 121 w 121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21" y="15"/>
                  </a:moveTo>
                  <a:lnTo>
                    <a:pt x="120" y="12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2" y="2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06" y="30"/>
                  </a:lnTo>
                  <a:lnTo>
                    <a:pt x="108" y="29"/>
                  </a:lnTo>
                  <a:lnTo>
                    <a:pt x="112" y="29"/>
                  </a:lnTo>
                  <a:lnTo>
                    <a:pt x="114" y="27"/>
                  </a:lnTo>
                  <a:lnTo>
                    <a:pt x="116" y="26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1" y="15"/>
                  </a:lnTo>
                  <a:lnTo>
                    <a:pt x="12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5640646" y="5412404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61" name="Group 60"/>
          <p:cNvGrpSpPr/>
          <p:nvPr/>
        </p:nvGrpSpPr>
        <p:grpSpPr>
          <a:xfrm>
            <a:off x="5168317" y="5591900"/>
            <a:ext cx="239713" cy="287338"/>
            <a:chOff x="342900" y="1943100"/>
            <a:chExt cx="239713" cy="287338"/>
          </a:xfrm>
          <a:solidFill>
            <a:schemeClr val="accent1"/>
          </a:solidFill>
        </p:grpSpPr>
        <p:sp>
          <p:nvSpPr>
            <p:cNvPr id="62" name="Freeform 1033"/>
            <p:cNvSpPr>
              <a:spLocks noEditPoints="1"/>
            </p:cNvSpPr>
            <p:nvPr/>
          </p:nvSpPr>
          <p:spPr bwMode="auto">
            <a:xfrm>
              <a:off x="342900" y="1943100"/>
              <a:ext cx="200025" cy="258763"/>
            </a:xfrm>
            <a:custGeom>
              <a:avLst/>
              <a:gdLst>
                <a:gd name="T0" fmla="*/ 350 w 506"/>
                <a:gd name="T1" fmla="*/ 12 h 651"/>
                <a:gd name="T2" fmla="*/ 494 w 506"/>
                <a:gd name="T3" fmla="*/ 156 h 651"/>
                <a:gd name="T4" fmla="*/ 350 w 506"/>
                <a:gd name="T5" fmla="*/ 156 h 651"/>
                <a:gd name="T6" fmla="*/ 350 w 506"/>
                <a:gd name="T7" fmla="*/ 12 h 651"/>
                <a:gd name="T8" fmla="*/ 314 w 506"/>
                <a:gd name="T9" fmla="*/ 509 h 651"/>
                <a:gd name="T10" fmla="*/ 309 w 506"/>
                <a:gd name="T11" fmla="*/ 499 h 651"/>
                <a:gd name="T12" fmla="*/ 306 w 506"/>
                <a:gd name="T13" fmla="*/ 489 h 651"/>
                <a:gd name="T14" fmla="*/ 303 w 506"/>
                <a:gd name="T15" fmla="*/ 477 h 651"/>
                <a:gd name="T16" fmla="*/ 302 w 506"/>
                <a:gd name="T17" fmla="*/ 466 h 651"/>
                <a:gd name="T18" fmla="*/ 302 w 506"/>
                <a:gd name="T19" fmla="*/ 455 h 651"/>
                <a:gd name="T20" fmla="*/ 303 w 506"/>
                <a:gd name="T21" fmla="*/ 444 h 651"/>
                <a:gd name="T22" fmla="*/ 306 w 506"/>
                <a:gd name="T23" fmla="*/ 433 h 651"/>
                <a:gd name="T24" fmla="*/ 309 w 506"/>
                <a:gd name="T25" fmla="*/ 422 h 651"/>
                <a:gd name="T26" fmla="*/ 306 w 506"/>
                <a:gd name="T27" fmla="*/ 412 h 651"/>
                <a:gd name="T28" fmla="*/ 303 w 506"/>
                <a:gd name="T29" fmla="*/ 401 h 651"/>
                <a:gd name="T30" fmla="*/ 302 w 506"/>
                <a:gd name="T31" fmla="*/ 390 h 651"/>
                <a:gd name="T32" fmla="*/ 302 w 506"/>
                <a:gd name="T33" fmla="*/ 378 h 651"/>
                <a:gd name="T34" fmla="*/ 303 w 506"/>
                <a:gd name="T35" fmla="*/ 368 h 651"/>
                <a:gd name="T36" fmla="*/ 306 w 506"/>
                <a:gd name="T37" fmla="*/ 357 h 651"/>
                <a:gd name="T38" fmla="*/ 309 w 506"/>
                <a:gd name="T39" fmla="*/ 346 h 651"/>
                <a:gd name="T40" fmla="*/ 314 w 506"/>
                <a:gd name="T41" fmla="*/ 336 h 651"/>
                <a:gd name="T42" fmla="*/ 321 w 506"/>
                <a:gd name="T43" fmla="*/ 326 h 651"/>
                <a:gd name="T44" fmla="*/ 328 w 506"/>
                <a:gd name="T45" fmla="*/ 318 h 651"/>
                <a:gd name="T46" fmla="*/ 336 w 506"/>
                <a:gd name="T47" fmla="*/ 310 h 651"/>
                <a:gd name="T48" fmla="*/ 345 w 506"/>
                <a:gd name="T49" fmla="*/ 304 h 651"/>
                <a:gd name="T50" fmla="*/ 355 w 506"/>
                <a:gd name="T51" fmla="*/ 299 h 651"/>
                <a:gd name="T52" fmla="*/ 365 w 506"/>
                <a:gd name="T53" fmla="*/ 294 h 651"/>
                <a:gd name="T54" fmla="*/ 375 w 506"/>
                <a:gd name="T55" fmla="*/ 291 h 651"/>
                <a:gd name="T56" fmla="*/ 386 w 506"/>
                <a:gd name="T57" fmla="*/ 289 h 651"/>
                <a:gd name="T58" fmla="*/ 393 w 506"/>
                <a:gd name="T59" fmla="*/ 281 h 651"/>
                <a:gd name="T60" fmla="*/ 402 w 506"/>
                <a:gd name="T61" fmla="*/ 272 h 651"/>
                <a:gd name="T62" fmla="*/ 411 w 506"/>
                <a:gd name="T63" fmla="*/ 265 h 651"/>
                <a:gd name="T64" fmla="*/ 421 w 506"/>
                <a:gd name="T65" fmla="*/ 260 h 651"/>
                <a:gd name="T66" fmla="*/ 431 w 506"/>
                <a:gd name="T67" fmla="*/ 255 h 651"/>
                <a:gd name="T68" fmla="*/ 441 w 506"/>
                <a:gd name="T69" fmla="*/ 252 h 651"/>
                <a:gd name="T70" fmla="*/ 453 w 506"/>
                <a:gd name="T71" fmla="*/ 250 h 651"/>
                <a:gd name="T72" fmla="*/ 464 w 506"/>
                <a:gd name="T73" fmla="*/ 249 h 651"/>
                <a:gd name="T74" fmla="*/ 475 w 506"/>
                <a:gd name="T75" fmla="*/ 250 h 651"/>
                <a:gd name="T76" fmla="*/ 486 w 506"/>
                <a:gd name="T77" fmla="*/ 252 h 651"/>
                <a:gd name="T78" fmla="*/ 496 w 506"/>
                <a:gd name="T79" fmla="*/ 255 h 651"/>
                <a:gd name="T80" fmla="*/ 506 w 506"/>
                <a:gd name="T81" fmla="*/ 259 h 651"/>
                <a:gd name="T82" fmla="*/ 506 w 506"/>
                <a:gd name="T83" fmla="*/ 156 h 651"/>
                <a:gd name="T84" fmla="*/ 506 w 506"/>
                <a:gd name="T85" fmla="*/ 152 h 651"/>
                <a:gd name="T86" fmla="*/ 503 w 506"/>
                <a:gd name="T87" fmla="*/ 148 h 651"/>
                <a:gd name="T88" fmla="*/ 358 w 506"/>
                <a:gd name="T89" fmla="*/ 3 h 651"/>
                <a:gd name="T90" fmla="*/ 354 w 506"/>
                <a:gd name="T91" fmla="*/ 1 h 651"/>
                <a:gd name="T92" fmla="*/ 350 w 506"/>
                <a:gd name="T93" fmla="*/ 0 h 651"/>
                <a:gd name="T94" fmla="*/ 12 w 506"/>
                <a:gd name="T95" fmla="*/ 0 h 651"/>
                <a:gd name="T96" fmla="*/ 8 w 506"/>
                <a:gd name="T97" fmla="*/ 1 h 651"/>
                <a:gd name="T98" fmla="*/ 4 w 506"/>
                <a:gd name="T99" fmla="*/ 4 h 651"/>
                <a:gd name="T100" fmla="*/ 1 w 506"/>
                <a:gd name="T101" fmla="*/ 7 h 651"/>
                <a:gd name="T102" fmla="*/ 0 w 506"/>
                <a:gd name="T103" fmla="*/ 12 h 651"/>
                <a:gd name="T104" fmla="*/ 0 w 506"/>
                <a:gd name="T105" fmla="*/ 638 h 651"/>
                <a:gd name="T106" fmla="*/ 1 w 506"/>
                <a:gd name="T107" fmla="*/ 644 h 651"/>
                <a:gd name="T108" fmla="*/ 4 w 506"/>
                <a:gd name="T109" fmla="*/ 647 h 651"/>
                <a:gd name="T110" fmla="*/ 8 w 506"/>
                <a:gd name="T111" fmla="*/ 650 h 651"/>
                <a:gd name="T112" fmla="*/ 12 w 506"/>
                <a:gd name="T113" fmla="*/ 651 h 651"/>
                <a:gd name="T114" fmla="*/ 337 w 506"/>
                <a:gd name="T115" fmla="*/ 651 h 651"/>
                <a:gd name="T116" fmla="*/ 337 w 506"/>
                <a:gd name="T117" fmla="*/ 535 h 651"/>
                <a:gd name="T118" fmla="*/ 331 w 506"/>
                <a:gd name="T119" fmla="*/ 530 h 651"/>
                <a:gd name="T120" fmla="*/ 325 w 506"/>
                <a:gd name="T121" fmla="*/ 523 h 651"/>
                <a:gd name="T122" fmla="*/ 319 w 506"/>
                <a:gd name="T123" fmla="*/ 517 h 651"/>
                <a:gd name="T124" fmla="*/ 314 w 506"/>
                <a:gd name="T125" fmla="*/ 509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6" h="651">
                  <a:moveTo>
                    <a:pt x="350" y="12"/>
                  </a:moveTo>
                  <a:lnTo>
                    <a:pt x="494" y="156"/>
                  </a:lnTo>
                  <a:lnTo>
                    <a:pt x="350" y="156"/>
                  </a:lnTo>
                  <a:lnTo>
                    <a:pt x="350" y="12"/>
                  </a:lnTo>
                  <a:close/>
                  <a:moveTo>
                    <a:pt x="314" y="509"/>
                  </a:moveTo>
                  <a:lnTo>
                    <a:pt x="309" y="499"/>
                  </a:lnTo>
                  <a:lnTo>
                    <a:pt x="306" y="489"/>
                  </a:lnTo>
                  <a:lnTo>
                    <a:pt x="303" y="477"/>
                  </a:lnTo>
                  <a:lnTo>
                    <a:pt x="302" y="466"/>
                  </a:lnTo>
                  <a:lnTo>
                    <a:pt x="302" y="455"/>
                  </a:lnTo>
                  <a:lnTo>
                    <a:pt x="303" y="444"/>
                  </a:lnTo>
                  <a:lnTo>
                    <a:pt x="306" y="433"/>
                  </a:lnTo>
                  <a:lnTo>
                    <a:pt x="309" y="422"/>
                  </a:lnTo>
                  <a:lnTo>
                    <a:pt x="306" y="412"/>
                  </a:lnTo>
                  <a:lnTo>
                    <a:pt x="303" y="401"/>
                  </a:lnTo>
                  <a:lnTo>
                    <a:pt x="302" y="390"/>
                  </a:lnTo>
                  <a:lnTo>
                    <a:pt x="302" y="378"/>
                  </a:lnTo>
                  <a:lnTo>
                    <a:pt x="303" y="368"/>
                  </a:lnTo>
                  <a:lnTo>
                    <a:pt x="306" y="357"/>
                  </a:lnTo>
                  <a:lnTo>
                    <a:pt x="309" y="346"/>
                  </a:lnTo>
                  <a:lnTo>
                    <a:pt x="314" y="336"/>
                  </a:lnTo>
                  <a:lnTo>
                    <a:pt x="321" y="326"/>
                  </a:lnTo>
                  <a:lnTo>
                    <a:pt x="328" y="318"/>
                  </a:lnTo>
                  <a:lnTo>
                    <a:pt x="336" y="310"/>
                  </a:lnTo>
                  <a:lnTo>
                    <a:pt x="345" y="304"/>
                  </a:lnTo>
                  <a:lnTo>
                    <a:pt x="355" y="299"/>
                  </a:lnTo>
                  <a:lnTo>
                    <a:pt x="365" y="294"/>
                  </a:lnTo>
                  <a:lnTo>
                    <a:pt x="375" y="291"/>
                  </a:lnTo>
                  <a:lnTo>
                    <a:pt x="386" y="289"/>
                  </a:lnTo>
                  <a:lnTo>
                    <a:pt x="393" y="281"/>
                  </a:lnTo>
                  <a:lnTo>
                    <a:pt x="402" y="272"/>
                  </a:lnTo>
                  <a:lnTo>
                    <a:pt x="411" y="265"/>
                  </a:lnTo>
                  <a:lnTo>
                    <a:pt x="421" y="260"/>
                  </a:lnTo>
                  <a:lnTo>
                    <a:pt x="431" y="255"/>
                  </a:lnTo>
                  <a:lnTo>
                    <a:pt x="441" y="252"/>
                  </a:lnTo>
                  <a:lnTo>
                    <a:pt x="453" y="250"/>
                  </a:lnTo>
                  <a:lnTo>
                    <a:pt x="464" y="249"/>
                  </a:lnTo>
                  <a:lnTo>
                    <a:pt x="475" y="250"/>
                  </a:lnTo>
                  <a:lnTo>
                    <a:pt x="486" y="252"/>
                  </a:lnTo>
                  <a:lnTo>
                    <a:pt x="496" y="255"/>
                  </a:lnTo>
                  <a:lnTo>
                    <a:pt x="506" y="259"/>
                  </a:lnTo>
                  <a:lnTo>
                    <a:pt x="506" y="156"/>
                  </a:lnTo>
                  <a:lnTo>
                    <a:pt x="506" y="152"/>
                  </a:lnTo>
                  <a:lnTo>
                    <a:pt x="503" y="148"/>
                  </a:lnTo>
                  <a:lnTo>
                    <a:pt x="358" y="3"/>
                  </a:lnTo>
                  <a:lnTo>
                    <a:pt x="354" y="1"/>
                  </a:lnTo>
                  <a:lnTo>
                    <a:pt x="350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638"/>
                  </a:lnTo>
                  <a:lnTo>
                    <a:pt x="1" y="644"/>
                  </a:lnTo>
                  <a:lnTo>
                    <a:pt x="4" y="647"/>
                  </a:lnTo>
                  <a:lnTo>
                    <a:pt x="8" y="650"/>
                  </a:lnTo>
                  <a:lnTo>
                    <a:pt x="12" y="651"/>
                  </a:lnTo>
                  <a:lnTo>
                    <a:pt x="337" y="651"/>
                  </a:lnTo>
                  <a:lnTo>
                    <a:pt x="337" y="535"/>
                  </a:lnTo>
                  <a:lnTo>
                    <a:pt x="331" y="530"/>
                  </a:lnTo>
                  <a:lnTo>
                    <a:pt x="325" y="523"/>
                  </a:lnTo>
                  <a:lnTo>
                    <a:pt x="319" y="517"/>
                  </a:lnTo>
                  <a:lnTo>
                    <a:pt x="314" y="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3" name="Freeform 1034"/>
            <p:cNvSpPr/>
            <p:nvPr/>
          </p:nvSpPr>
          <p:spPr bwMode="auto">
            <a:xfrm>
              <a:off x="485775" y="2159000"/>
              <a:ext cx="87313" cy="71438"/>
            </a:xfrm>
            <a:custGeom>
              <a:avLst/>
              <a:gdLst>
                <a:gd name="T0" fmla="*/ 102 w 216"/>
                <a:gd name="T1" fmla="*/ 50 h 178"/>
                <a:gd name="T2" fmla="*/ 91 w 216"/>
                <a:gd name="T3" fmla="*/ 50 h 178"/>
                <a:gd name="T4" fmla="*/ 79 w 216"/>
                <a:gd name="T5" fmla="*/ 48 h 178"/>
                <a:gd name="T6" fmla="*/ 69 w 216"/>
                <a:gd name="T7" fmla="*/ 45 h 178"/>
                <a:gd name="T8" fmla="*/ 59 w 216"/>
                <a:gd name="T9" fmla="*/ 39 h 178"/>
                <a:gd name="T10" fmla="*/ 49 w 216"/>
                <a:gd name="T11" fmla="*/ 34 h 178"/>
                <a:gd name="T12" fmla="*/ 40 w 216"/>
                <a:gd name="T13" fmla="*/ 27 h 178"/>
                <a:gd name="T14" fmla="*/ 31 w 216"/>
                <a:gd name="T15" fmla="*/ 20 h 178"/>
                <a:gd name="T16" fmla="*/ 24 w 216"/>
                <a:gd name="T17" fmla="*/ 12 h 178"/>
                <a:gd name="T18" fmla="*/ 12 w 216"/>
                <a:gd name="T19" fmla="*/ 9 h 178"/>
                <a:gd name="T20" fmla="*/ 0 w 216"/>
                <a:gd name="T21" fmla="*/ 6 h 178"/>
                <a:gd name="T22" fmla="*/ 0 w 216"/>
                <a:gd name="T23" fmla="*/ 166 h 178"/>
                <a:gd name="T24" fmla="*/ 0 w 216"/>
                <a:gd name="T25" fmla="*/ 169 h 178"/>
                <a:gd name="T26" fmla="*/ 2 w 216"/>
                <a:gd name="T27" fmla="*/ 172 h 178"/>
                <a:gd name="T28" fmla="*/ 4 w 216"/>
                <a:gd name="T29" fmla="*/ 175 h 178"/>
                <a:gd name="T30" fmla="*/ 6 w 216"/>
                <a:gd name="T31" fmla="*/ 176 h 178"/>
                <a:gd name="T32" fmla="*/ 9 w 216"/>
                <a:gd name="T33" fmla="*/ 178 h 178"/>
                <a:gd name="T34" fmla="*/ 13 w 216"/>
                <a:gd name="T35" fmla="*/ 178 h 178"/>
                <a:gd name="T36" fmla="*/ 16 w 216"/>
                <a:gd name="T37" fmla="*/ 177 h 178"/>
                <a:gd name="T38" fmla="*/ 19 w 216"/>
                <a:gd name="T39" fmla="*/ 175 h 178"/>
                <a:gd name="T40" fmla="*/ 108 w 216"/>
                <a:gd name="T41" fmla="*/ 109 h 178"/>
                <a:gd name="T42" fmla="*/ 197 w 216"/>
                <a:gd name="T43" fmla="*/ 175 h 178"/>
                <a:gd name="T44" fmla="*/ 201 w 216"/>
                <a:gd name="T45" fmla="*/ 177 h 178"/>
                <a:gd name="T46" fmla="*/ 205 w 216"/>
                <a:gd name="T47" fmla="*/ 178 h 178"/>
                <a:gd name="T48" fmla="*/ 207 w 216"/>
                <a:gd name="T49" fmla="*/ 177 h 178"/>
                <a:gd name="T50" fmla="*/ 210 w 216"/>
                <a:gd name="T51" fmla="*/ 176 h 178"/>
                <a:gd name="T52" fmla="*/ 213 w 216"/>
                <a:gd name="T53" fmla="*/ 175 h 178"/>
                <a:gd name="T54" fmla="*/ 215 w 216"/>
                <a:gd name="T55" fmla="*/ 172 h 178"/>
                <a:gd name="T56" fmla="*/ 216 w 216"/>
                <a:gd name="T57" fmla="*/ 169 h 178"/>
                <a:gd name="T58" fmla="*/ 216 w 216"/>
                <a:gd name="T59" fmla="*/ 166 h 178"/>
                <a:gd name="T60" fmla="*/ 216 w 216"/>
                <a:gd name="T61" fmla="*/ 0 h 178"/>
                <a:gd name="T62" fmla="*/ 208 w 216"/>
                <a:gd name="T63" fmla="*/ 4 h 178"/>
                <a:gd name="T64" fmla="*/ 199 w 216"/>
                <a:gd name="T65" fmla="*/ 7 h 178"/>
                <a:gd name="T66" fmla="*/ 189 w 216"/>
                <a:gd name="T67" fmla="*/ 10 h 178"/>
                <a:gd name="T68" fmla="*/ 179 w 216"/>
                <a:gd name="T69" fmla="*/ 12 h 178"/>
                <a:gd name="T70" fmla="*/ 172 w 216"/>
                <a:gd name="T71" fmla="*/ 20 h 178"/>
                <a:gd name="T72" fmla="*/ 164 w 216"/>
                <a:gd name="T73" fmla="*/ 27 h 178"/>
                <a:gd name="T74" fmla="*/ 155 w 216"/>
                <a:gd name="T75" fmla="*/ 34 h 178"/>
                <a:gd name="T76" fmla="*/ 146 w 216"/>
                <a:gd name="T77" fmla="*/ 39 h 178"/>
                <a:gd name="T78" fmla="*/ 135 w 216"/>
                <a:gd name="T79" fmla="*/ 45 h 178"/>
                <a:gd name="T80" fmla="*/ 124 w 216"/>
                <a:gd name="T81" fmla="*/ 48 h 178"/>
                <a:gd name="T82" fmla="*/ 113 w 216"/>
                <a:gd name="T83" fmla="*/ 50 h 178"/>
                <a:gd name="T84" fmla="*/ 102 w 216"/>
                <a:gd name="T85" fmla="*/ 5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6" h="178">
                  <a:moveTo>
                    <a:pt x="102" y="50"/>
                  </a:moveTo>
                  <a:lnTo>
                    <a:pt x="91" y="50"/>
                  </a:lnTo>
                  <a:lnTo>
                    <a:pt x="79" y="48"/>
                  </a:lnTo>
                  <a:lnTo>
                    <a:pt x="69" y="45"/>
                  </a:lnTo>
                  <a:lnTo>
                    <a:pt x="59" y="39"/>
                  </a:lnTo>
                  <a:lnTo>
                    <a:pt x="49" y="34"/>
                  </a:lnTo>
                  <a:lnTo>
                    <a:pt x="40" y="27"/>
                  </a:lnTo>
                  <a:lnTo>
                    <a:pt x="31" y="20"/>
                  </a:lnTo>
                  <a:lnTo>
                    <a:pt x="24" y="12"/>
                  </a:lnTo>
                  <a:lnTo>
                    <a:pt x="12" y="9"/>
                  </a:lnTo>
                  <a:lnTo>
                    <a:pt x="0" y="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2" y="172"/>
                  </a:lnTo>
                  <a:lnTo>
                    <a:pt x="4" y="175"/>
                  </a:lnTo>
                  <a:lnTo>
                    <a:pt x="6" y="176"/>
                  </a:lnTo>
                  <a:lnTo>
                    <a:pt x="9" y="178"/>
                  </a:lnTo>
                  <a:lnTo>
                    <a:pt x="13" y="178"/>
                  </a:lnTo>
                  <a:lnTo>
                    <a:pt x="16" y="177"/>
                  </a:lnTo>
                  <a:lnTo>
                    <a:pt x="19" y="175"/>
                  </a:lnTo>
                  <a:lnTo>
                    <a:pt x="108" y="109"/>
                  </a:lnTo>
                  <a:lnTo>
                    <a:pt x="197" y="175"/>
                  </a:lnTo>
                  <a:lnTo>
                    <a:pt x="201" y="177"/>
                  </a:lnTo>
                  <a:lnTo>
                    <a:pt x="205" y="178"/>
                  </a:lnTo>
                  <a:lnTo>
                    <a:pt x="207" y="177"/>
                  </a:lnTo>
                  <a:lnTo>
                    <a:pt x="210" y="176"/>
                  </a:lnTo>
                  <a:lnTo>
                    <a:pt x="213" y="175"/>
                  </a:lnTo>
                  <a:lnTo>
                    <a:pt x="215" y="172"/>
                  </a:lnTo>
                  <a:lnTo>
                    <a:pt x="216" y="169"/>
                  </a:lnTo>
                  <a:lnTo>
                    <a:pt x="216" y="166"/>
                  </a:lnTo>
                  <a:lnTo>
                    <a:pt x="216" y="0"/>
                  </a:lnTo>
                  <a:lnTo>
                    <a:pt x="208" y="4"/>
                  </a:lnTo>
                  <a:lnTo>
                    <a:pt x="199" y="7"/>
                  </a:lnTo>
                  <a:lnTo>
                    <a:pt x="189" y="10"/>
                  </a:lnTo>
                  <a:lnTo>
                    <a:pt x="179" y="12"/>
                  </a:lnTo>
                  <a:lnTo>
                    <a:pt x="172" y="20"/>
                  </a:lnTo>
                  <a:lnTo>
                    <a:pt x="164" y="27"/>
                  </a:lnTo>
                  <a:lnTo>
                    <a:pt x="155" y="34"/>
                  </a:lnTo>
                  <a:lnTo>
                    <a:pt x="146" y="39"/>
                  </a:lnTo>
                  <a:lnTo>
                    <a:pt x="135" y="45"/>
                  </a:lnTo>
                  <a:lnTo>
                    <a:pt x="124" y="48"/>
                  </a:lnTo>
                  <a:lnTo>
                    <a:pt x="113" y="50"/>
                  </a:lnTo>
                  <a:lnTo>
                    <a:pt x="10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4" name="Freeform 1035"/>
            <p:cNvSpPr>
              <a:spLocks noEditPoints="1"/>
            </p:cNvSpPr>
            <p:nvPr/>
          </p:nvSpPr>
          <p:spPr bwMode="auto">
            <a:xfrm>
              <a:off x="471488" y="2051050"/>
              <a:ext cx="111125" cy="119063"/>
            </a:xfrm>
            <a:custGeom>
              <a:avLst/>
              <a:gdLst>
                <a:gd name="T0" fmla="*/ 121 w 277"/>
                <a:gd name="T1" fmla="*/ 204 h 298"/>
                <a:gd name="T2" fmla="*/ 99 w 277"/>
                <a:gd name="T3" fmla="*/ 187 h 298"/>
                <a:gd name="T4" fmla="*/ 86 w 277"/>
                <a:gd name="T5" fmla="*/ 160 h 298"/>
                <a:gd name="T6" fmla="*/ 88 w 277"/>
                <a:gd name="T7" fmla="*/ 131 h 298"/>
                <a:gd name="T8" fmla="*/ 102 w 277"/>
                <a:gd name="T9" fmla="*/ 106 h 298"/>
                <a:gd name="T10" fmla="*/ 128 w 277"/>
                <a:gd name="T11" fmla="*/ 91 h 298"/>
                <a:gd name="T12" fmla="*/ 157 w 277"/>
                <a:gd name="T13" fmla="*/ 89 h 298"/>
                <a:gd name="T14" fmla="*/ 184 w 277"/>
                <a:gd name="T15" fmla="*/ 102 h 298"/>
                <a:gd name="T16" fmla="*/ 200 w 277"/>
                <a:gd name="T17" fmla="*/ 126 h 298"/>
                <a:gd name="T18" fmla="*/ 205 w 277"/>
                <a:gd name="T19" fmla="*/ 154 h 298"/>
                <a:gd name="T20" fmla="*/ 195 w 277"/>
                <a:gd name="T21" fmla="*/ 183 h 298"/>
                <a:gd name="T22" fmla="*/ 173 w 277"/>
                <a:gd name="T23" fmla="*/ 201 h 298"/>
                <a:gd name="T24" fmla="*/ 145 w 277"/>
                <a:gd name="T25" fmla="*/ 208 h 298"/>
                <a:gd name="T26" fmla="*/ 276 w 277"/>
                <a:gd name="T27" fmla="*/ 175 h 298"/>
                <a:gd name="T28" fmla="*/ 273 w 277"/>
                <a:gd name="T29" fmla="*/ 163 h 298"/>
                <a:gd name="T30" fmla="*/ 266 w 277"/>
                <a:gd name="T31" fmla="*/ 149 h 298"/>
                <a:gd name="T32" fmla="*/ 273 w 277"/>
                <a:gd name="T33" fmla="*/ 136 h 298"/>
                <a:gd name="T34" fmla="*/ 276 w 277"/>
                <a:gd name="T35" fmla="*/ 125 h 298"/>
                <a:gd name="T36" fmla="*/ 277 w 277"/>
                <a:gd name="T37" fmla="*/ 113 h 298"/>
                <a:gd name="T38" fmla="*/ 276 w 277"/>
                <a:gd name="T39" fmla="*/ 101 h 298"/>
                <a:gd name="T40" fmla="*/ 274 w 277"/>
                <a:gd name="T41" fmla="*/ 90 h 298"/>
                <a:gd name="T42" fmla="*/ 268 w 277"/>
                <a:gd name="T43" fmla="*/ 76 h 298"/>
                <a:gd name="T44" fmla="*/ 265 w 277"/>
                <a:gd name="T45" fmla="*/ 71 h 298"/>
                <a:gd name="T46" fmla="*/ 256 w 277"/>
                <a:gd name="T47" fmla="*/ 60 h 298"/>
                <a:gd name="T48" fmla="*/ 248 w 277"/>
                <a:gd name="T49" fmla="*/ 53 h 298"/>
                <a:gd name="T50" fmla="*/ 239 w 277"/>
                <a:gd name="T51" fmla="*/ 47 h 298"/>
                <a:gd name="T52" fmla="*/ 228 w 277"/>
                <a:gd name="T53" fmla="*/ 42 h 298"/>
                <a:gd name="T54" fmla="*/ 215 w 277"/>
                <a:gd name="T55" fmla="*/ 40 h 298"/>
                <a:gd name="T56" fmla="*/ 201 w 277"/>
                <a:gd name="T57" fmla="*/ 35 h 298"/>
                <a:gd name="T58" fmla="*/ 193 w 277"/>
                <a:gd name="T59" fmla="*/ 25 h 298"/>
                <a:gd name="T60" fmla="*/ 185 w 277"/>
                <a:gd name="T61" fmla="*/ 17 h 298"/>
                <a:gd name="T62" fmla="*/ 171 w 277"/>
                <a:gd name="T63" fmla="*/ 8 h 298"/>
                <a:gd name="T64" fmla="*/ 120 w 277"/>
                <a:gd name="T65" fmla="*/ 2 h 298"/>
                <a:gd name="T66" fmla="*/ 84 w 277"/>
                <a:gd name="T67" fmla="*/ 27 h 298"/>
                <a:gd name="T68" fmla="*/ 68 w 277"/>
                <a:gd name="T69" fmla="*/ 39 h 298"/>
                <a:gd name="T70" fmla="*/ 28 w 277"/>
                <a:gd name="T71" fmla="*/ 55 h 298"/>
                <a:gd name="T72" fmla="*/ 3 w 277"/>
                <a:gd name="T73" fmla="*/ 92 h 298"/>
                <a:gd name="T74" fmla="*/ 4 w 277"/>
                <a:gd name="T75" fmla="*/ 135 h 298"/>
                <a:gd name="T76" fmla="*/ 8 w 277"/>
                <a:gd name="T77" fmla="*/ 154 h 298"/>
                <a:gd name="T78" fmla="*/ 1 w 277"/>
                <a:gd name="T79" fmla="*/ 198 h 298"/>
                <a:gd name="T80" fmla="*/ 12 w 277"/>
                <a:gd name="T81" fmla="*/ 227 h 298"/>
                <a:gd name="T82" fmla="*/ 16 w 277"/>
                <a:gd name="T83" fmla="*/ 233 h 298"/>
                <a:gd name="T84" fmla="*/ 26 w 277"/>
                <a:gd name="T85" fmla="*/ 243 h 298"/>
                <a:gd name="T86" fmla="*/ 37 w 277"/>
                <a:gd name="T87" fmla="*/ 249 h 298"/>
                <a:gd name="T88" fmla="*/ 68 w 277"/>
                <a:gd name="T89" fmla="*/ 260 h 298"/>
                <a:gd name="T90" fmla="*/ 84 w 277"/>
                <a:gd name="T91" fmla="*/ 273 h 298"/>
                <a:gd name="T92" fmla="*/ 121 w 277"/>
                <a:gd name="T93" fmla="*/ 296 h 298"/>
                <a:gd name="T94" fmla="*/ 165 w 277"/>
                <a:gd name="T95" fmla="*/ 293 h 298"/>
                <a:gd name="T96" fmla="*/ 200 w 277"/>
                <a:gd name="T97" fmla="*/ 266 h 298"/>
                <a:gd name="T98" fmla="*/ 215 w 277"/>
                <a:gd name="T99" fmla="*/ 259 h 298"/>
                <a:gd name="T100" fmla="*/ 253 w 277"/>
                <a:gd name="T101" fmla="*/ 241 h 298"/>
                <a:gd name="T102" fmla="*/ 256 w 277"/>
                <a:gd name="T103" fmla="*/ 239 h 298"/>
                <a:gd name="T104" fmla="*/ 265 w 277"/>
                <a:gd name="T105" fmla="*/ 228 h 298"/>
                <a:gd name="T106" fmla="*/ 273 w 277"/>
                <a:gd name="T107" fmla="*/ 212 h 298"/>
                <a:gd name="T108" fmla="*/ 276 w 277"/>
                <a:gd name="T109" fmla="*/ 199 h 298"/>
                <a:gd name="T110" fmla="*/ 277 w 277"/>
                <a:gd name="T111" fmla="*/ 18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7" h="298">
                  <a:moveTo>
                    <a:pt x="145" y="208"/>
                  </a:moveTo>
                  <a:lnTo>
                    <a:pt x="139" y="208"/>
                  </a:lnTo>
                  <a:lnTo>
                    <a:pt x="133" y="207"/>
                  </a:lnTo>
                  <a:lnTo>
                    <a:pt x="128" y="206"/>
                  </a:lnTo>
                  <a:lnTo>
                    <a:pt x="121" y="204"/>
                  </a:lnTo>
                  <a:lnTo>
                    <a:pt x="116" y="201"/>
                  </a:lnTo>
                  <a:lnTo>
                    <a:pt x="111" y="198"/>
                  </a:lnTo>
                  <a:lnTo>
                    <a:pt x="107" y="195"/>
                  </a:lnTo>
                  <a:lnTo>
                    <a:pt x="102" y="191"/>
                  </a:lnTo>
                  <a:lnTo>
                    <a:pt x="99" y="187"/>
                  </a:lnTo>
                  <a:lnTo>
                    <a:pt x="95" y="183"/>
                  </a:lnTo>
                  <a:lnTo>
                    <a:pt x="92" y="178"/>
                  </a:lnTo>
                  <a:lnTo>
                    <a:pt x="90" y="172"/>
                  </a:lnTo>
                  <a:lnTo>
                    <a:pt x="88" y="167"/>
                  </a:lnTo>
                  <a:lnTo>
                    <a:pt x="86" y="160"/>
                  </a:lnTo>
                  <a:lnTo>
                    <a:pt x="85" y="154"/>
                  </a:lnTo>
                  <a:lnTo>
                    <a:pt x="85" y="148"/>
                  </a:lnTo>
                  <a:lnTo>
                    <a:pt x="85" y="142"/>
                  </a:lnTo>
                  <a:lnTo>
                    <a:pt x="86" y="137"/>
                  </a:lnTo>
                  <a:lnTo>
                    <a:pt x="88" y="131"/>
                  </a:lnTo>
                  <a:lnTo>
                    <a:pt x="90" y="126"/>
                  </a:lnTo>
                  <a:lnTo>
                    <a:pt x="92" y="120"/>
                  </a:lnTo>
                  <a:lnTo>
                    <a:pt x="95" y="116"/>
                  </a:lnTo>
                  <a:lnTo>
                    <a:pt x="99" y="111"/>
                  </a:lnTo>
                  <a:lnTo>
                    <a:pt x="102" y="106"/>
                  </a:lnTo>
                  <a:lnTo>
                    <a:pt x="107" y="102"/>
                  </a:lnTo>
                  <a:lnTo>
                    <a:pt x="111" y="99"/>
                  </a:lnTo>
                  <a:lnTo>
                    <a:pt x="116" y="96"/>
                  </a:lnTo>
                  <a:lnTo>
                    <a:pt x="121" y="93"/>
                  </a:lnTo>
                  <a:lnTo>
                    <a:pt x="128" y="91"/>
                  </a:lnTo>
                  <a:lnTo>
                    <a:pt x="133" y="89"/>
                  </a:lnTo>
                  <a:lnTo>
                    <a:pt x="139" y="89"/>
                  </a:lnTo>
                  <a:lnTo>
                    <a:pt x="145" y="88"/>
                  </a:lnTo>
                  <a:lnTo>
                    <a:pt x="151" y="89"/>
                  </a:lnTo>
                  <a:lnTo>
                    <a:pt x="157" y="89"/>
                  </a:lnTo>
                  <a:lnTo>
                    <a:pt x="163" y="91"/>
                  </a:lnTo>
                  <a:lnTo>
                    <a:pt x="168" y="93"/>
                  </a:lnTo>
                  <a:lnTo>
                    <a:pt x="173" y="96"/>
                  </a:lnTo>
                  <a:lnTo>
                    <a:pt x="179" y="99"/>
                  </a:lnTo>
                  <a:lnTo>
                    <a:pt x="184" y="102"/>
                  </a:lnTo>
                  <a:lnTo>
                    <a:pt x="188" y="106"/>
                  </a:lnTo>
                  <a:lnTo>
                    <a:pt x="192" y="111"/>
                  </a:lnTo>
                  <a:lnTo>
                    <a:pt x="195" y="116"/>
                  </a:lnTo>
                  <a:lnTo>
                    <a:pt x="198" y="120"/>
                  </a:lnTo>
                  <a:lnTo>
                    <a:pt x="200" y="126"/>
                  </a:lnTo>
                  <a:lnTo>
                    <a:pt x="202" y="131"/>
                  </a:lnTo>
                  <a:lnTo>
                    <a:pt x="204" y="137"/>
                  </a:lnTo>
                  <a:lnTo>
                    <a:pt x="205" y="142"/>
                  </a:lnTo>
                  <a:lnTo>
                    <a:pt x="205" y="148"/>
                  </a:lnTo>
                  <a:lnTo>
                    <a:pt x="205" y="154"/>
                  </a:lnTo>
                  <a:lnTo>
                    <a:pt x="204" y="160"/>
                  </a:lnTo>
                  <a:lnTo>
                    <a:pt x="202" y="167"/>
                  </a:lnTo>
                  <a:lnTo>
                    <a:pt x="200" y="172"/>
                  </a:lnTo>
                  <a:lnTo>
                    <a:pt x="198" y="178"/>
                  </a:lnTo>
                  <a:lnTo>
                    <a:pt x="195" y="183"/>
                  </a:lnTo>
                  <a:lnTo>
                    <a:pt x="192" y="187"/>
                  </a:lnTo>
                  <a:lnTo>
                    <a:pt x="188" y="191"/>
                  </a:lnTo>
                  <a:lnTo>
                    <a:pt x="184" y="195"/>
                  </a:lnTo>
                  <a:lnTo>
                    <a:pt x="179" y="198"/>
                  </a:lnTo>
                  <a:lnTo>
                    <a:pt x="173" y="201"/>
                  </a:lnTo>
                  <a:lnTo>
                    <a:pt x="168" y="204"/>
                  </a:lnTo>
                  <a:lnTo>
                    <a:pt x="163" y="206"/>
                  </a:lnTo>
                  <a:lnTo>
                    <a:pt x="157" y="207"/>
                  </a:lnTo>
                  <a:lnTo>
                    <a:pt x="151" y="208"/>
                  </a:lnTo>
                  <a:lnTo>
                    <a:pt x="145" y="208"/>
                  </a:lnTo>
                  <a:close/>
                  <a:moveTo>
                    <a:pt x="277" y="184"/>
                  </a:moveTo>
                  <a:lnTo>
                    <a:pt x="277" y="181"/>
                  </a:lnTo>
                  <a:lnTo>
                    <a:pt x="276" y="179"/>
                  </a:lnTo>
                  <a:lnTo>
                    <a:pt x="276" y="177"/>
                  </a:lnTo>
                  <a:lnTo>
                    <a:pt x="276" y="175"/>
                  </a:lnTo>
                  <a:lnTo>
                    <a:pt x="275" y="172"/>
                  </a:lnTo>
                  <a:lnTo>
                    <a:pt x="275" y="169"/>
                  </a:lnTo>
                  <a:lnTo>
                    <a:pt x="274" y="168"/>
                  </a:lnTo>
                  <a:lnTo>
                    <a:pt x="274" y="166"/>
                  </a:lnTo>
                  <a:lnTo>
                    <a:pt x="273" y="163"/>
                  </a:lnTo>
                  <a:lnTo>
                    <a:pt x="272" y="160"/>
                  </a:lnTo>
                  <a:lnTo>
                    <a:pt x="271" y="158"/>
                  </a:lnTo>
                  <a:lnTo>
                    <a:pt x="270" y="157"/>
                  </a:lnTo>
                  <a:lnTo>
                    <a:pt x="268" y="153"/>
                  </a:lnTo>
                  <a:lnTo>
                    <a:pt x="266" y="149"/>
                  </a:lnTo>
                  <a:lnTo>
                    <a:pt x="268" y="146"/>
                  </a:lnTo>
                  <a:lnTo>
                    <a:pt x="270" y="142"/>
                  </a:lnTo>
                  <a:lnTo>
                    <a:pt x="271" y="141"/>
                  </a:lnTo>
                  <a:lnTo>
                    <a:pt x="272" y="139"/>
                  </a:lnTo>
                  <a:lnTo>
                    <a:pt x="273" y="136"/>
                  </a:lnTo>
                  <a:lnTo>
                    <a:pt x="274" y="133"/>
                  </a:lnTo>
                  <a:lnTo>
                    <a:pt x="274" y="131"/>
                  </a:lnTo>
                  <a:lnTo>
                    <a:pt x="275" y="129"/>
                  </a:lnTo>
                  <a:lnTo>
                    <a:pt x="275" y="127"/>
                  </a:lnTo>
                  <a:lnTo>
                    <a:pt x="276" y="125"/>
                  </a:lnTo>
                  <a:lnTo>
                    <a:pt x="276" y="123"/>
                  </a:lnTo>
                  <a:lnTo>
                    <a:pt x="276" y="121"/>
                  </a:lnTo>
                  <a:lnTo>
                    <a:pt x="277" y="118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2"/>
                  </a:lnTo>
                  <a:lnTo>
                    <a:pt x="277" y="108"/>
                  </a:lnTo>
                  <a:lnTo>
                    <a:pt x="277" y="106"/>
                  </a:lnTo>
                  <a:lnTo>
                    <a:pt x="277" y="103"/>
                  </a:lnTo>
                  <a:lnTo>
                    <a:pt x="276" y="101"/>
                  </a:lnTo>
                  <a:lnTo>
                    <a:pt x="276" y="99"/>
                  </a:lnTo>
                  <a:lnTo>
                    <a:pt x="275" y="97"/>
                  </a:lnTo>
                  <a:lnTo>
                    <a:pt x="275" y="95"/>
                  </a:lnTo>
                  <a:lnTo>
                    <a:pt x="275" y="93"/>
                  </a:lnTo>
                  <a:lnTo>
                    <a:pt x="274" y="90"/>
                  </a:lnTo>
                  <a:lnTo>
                    <a:pt x="273" y="87"/>
                  </a:lnTo>
                  <a:lnTo>
                    <a:pt x="272" y="85"/>
                  </a:lnTo>
                  <a:lnTo>
                    <a:pt x="272" y="84"/>
                  </a:lnTo>
                  <a:lnTo>
                    <a:pt x="270" y="80"/>
                  </a:lnTo>
                  <a:lnTo>
                    <a:pt x="268" y="76"/>
                  </a:lnTo>
                  <a:lnTo>
                    <a:pt x="268" y="76"/>
                  </a:lnTo>
                  <a:lnTo>
                    <a:pt x="267" y="75"/>
                  </a:lnTo>
                  <a:lnTo>
                    <a:pt x="267" y="75"/>
                  </a:lnTo>
                  <a:lnTo>
                    <a:pt x="267" y="75"/>
                  </a:lnTo>
                  <a:lnTo>
                    <a:pt x="265" y="71"/>
                  </a:lnTo>
                  <a:lnTo>
                    <a:pt x="262" y="67"/>
                  </a:lnTo>
                  <a:lnTo>
                    <a:pt x="262" y="67"/>
                  </a:lnTo>
                  <a:lnTo>
                    <a:pt x="261" y="66"/>
                  </a:lnTo>
                  <a:lnTo>
                    <a:pt x="258" y="63"/>
                  </a:lnTo>
                  <a:lnTo>
                    <a:pt x="256" y="60"/>
                  </a:lnTo>
                  <a:lnTo>
                    <a:pt x="255" y="60"/>
                  </a:lnTo>
                  <a:lnTo>
                    <a:pt x="255" y="60"/>
                  </a:lnTo>
                  <a:lnTo>
                    <a:pt x="252" y="56"/>
                  </a:lnTo>
                  <a:lnTo>
                    <a:pt x="249" y="53"/>
                  </a:lnTo>
                  <a:lnTo>
                    <a:pt x="248" y="53"/>
                  </a:lnTo>
                  <a:lnTo>
                    <a:pt x="247" y="52"/>
                  </a:lnTo>
                  <a:lnTo>
                    <a:pt x="244" y="50"/>
                  </a:lnTo>
                  <a:lnTo>
                    <a:pt x="241" y="48"/>
                  </a:lnTo>
                  <a:lnTo>
                    <a:pt x="240" y="48"/>
                  </a:lnTo>
                  <a:lnTo>
                    <a:pt x="239" y="47"/>
                  </a:lnTo>
                  <a:lnTo>
                    <a:pt x="236" y="45"/>
                  </a:lnTo>
                  <a:lnTo>
                    <a:pt x="233" y="45"/>
                  </a:lnTo>
                  <a:lnTo>
                    <a:pt x="232" y="44"/>
                  </a:lnTo>
                  <a:lnTo>
                    <a:pt x="230" y="44"/>
                  </a:lnTo>
                  <a:lnTo>
                    <a:pt x="228" y="42"/>
                  </a:lnTo>
                  <a:lnTo>
                    <a:pt x="224" y="41"/>
                  </a:lnTo>
                  <a:lnTo>
                    <a:pt x="222" y="41"/>
                  </a:lnTo>
                  <a:lnTo>
                    <a:pt x="220" y="40"/>
                  </a:lnTo>
                  <a:lnTo>
                    <a:pt x="218" y="40"/>
                  </a:lnTo>
                  <a:lnTo>
                    <a:pt x="215" y="40"/>
                  </a:lnTo>
                  <a:lnTo>
                    <a:pt x="213" y="39"/>
                  </a:lnTo>
                  <a:lnTo>
                    <a:pt x="211" y="39"/>
                  </a:lnTo>
                  <a:lnTo>
                    <a:pt x="207" y="39"/>
                  </a:lnTo>
                  <a:lnTo>
                    <a:pt x="203" y="39"/>
                  </a:lnTo>
                  <a:lnTo>
                    <a:pt x="201" y="35"/>
                  </a:lnTo>
                  <a:lnTo>
                    <a:pt x="199" y="32"/>
                  </a:lnTo>
                  <a:lnTo>
                    <a:pt x="197" y="30"/>
                  </a:lnTo>
                  <a:lnTo>
                    <a:pt x="196" y="28"/>
                  </a:lnTo>
                  <a:lnTo>
                    <a:pt x="194" y="26"/>
                  </a:lnTo>
                  <a:lnTo>
                    <a:pt x="193" y="25"/>
                  </a:lnTo>
                  <a:lnTo>
                    <a:pt x="191" y="23"/>
                  </a:lnTo>
                  <a:lnTo>
                    <a:pt x="190" y="22"/>
                  </a:lnTo>
                  <a:lnTo>
                    <a:pt x="188" y="21"/>
                  </a:lnTo>
                  <a:lnTo>
                    <a:pt x="186" y="19"/>
                  </a:lnTo>
                  <a:lnTo>
                    <a:pt x="185" y="17"/>
                  </a:lnTo>
                  <a:lnTo>
                    <a:pt x="183" y="16"/>
                  </a:lnTo>
                  <a:lnTo>
                    <a:pt x="182" y="15"/>
                  </a:lnTo>
                  <a:lnTo>
                    <a:pt x="181" y="15"/>
                  </a:lnTo>
                  <a:lnTo>
                    <a:pt x="181" y="14"/>
                  </a:lnTo>
                  <a:lnTo>
                    <a:pt x="171" y="8"/>
                  </a:lnTo>
                  <a:lnTo>
                    <a:pt x="161" y="3"/>
                  </a:lnTo>
                  <a:lnTo>
                    <a:pt x="150" y="1"/>
                  </a:lnTo>
                  <a:lnTo>
                    <a:pt x="139" y="0"/>
                  </a:lnTo>
                  <a:lnTo>
                    <a:pt x="130" y="1"/>
                  </a:lnTo>
                  <a:lnTo>
                    <a:pt x="120" y="2"/>
                  </a:lnTo>
                  <a:lnTo>
                    <a:pt x="112" y="5"/>
                  </a:lnTo>
                  <a:lnTo>
                    <a:pt x="104" y="10"/>
                  </a:lnTo>
                  <a:lnTo>
                    <a:pt x="97" y="15"/>
                  </a:lnTo>
                  <a:lnTo>
                    <a:pt x="90" y="20"/>
                  </a:lnTo>
                  <a:lnTo>
                    <a:pt x="84" y="27"/>
                  </a:lnTo>
                  <a:lnTo>
                    <a:pt x="79" y="34"/>
                  </a:lnTo>
                  <a:lnTo>
                    <a:pt x="77" y="36"/>
                  </a:lnTo>
                  <a:lnTo>
                    <a:pt x="75" y="37"/>
                  </a:lnTo>
                  <a:lnTo>
                    <a:pt x="72" y="38"/>
                  </a:lnTo>
                  <a:lnTo>
                    <a:pt x="68" y="39"/>
                  </a:lnTo>
                  <a:lnTo>
                    <a:pt x="60" y="40"/>
                  </a:lnTo>
                  <a:lnTo>
                    <a:pt x="51" y="42"/>
                  </a:lnTo>
                  <a:lnTo>
                    <a:pt x="43" y="45"/>
                  </a:lnTo>
                  <a:lnTo>
                    <a:pt x="35" y="49"/>
                  </a:lnTo>
                  <a:lnTo>
                    <a:pt x="28" y="55"/>
                  </a:lnTo>
                  <a:lnTo>
                    <a:pt x="22" y="61"/>
                  </a:lnTo>
                  <a:lnTo>
                    <a:pt x="15" y="68"/>
                  </a:lnTo>
                  <a:lnTo>
                    <a:pt x="10" y="75"/>
                  </a:lnTo>
                  <a:lnTo>
                    <a:pt x="6" y="83"/>
                  </a:lnTo>
                  <a:lnTo>
                    <a:pt x="3" y="92"/>
                  </a:lnTo>
                  <a:lnTo>
                    <a:pt x="1" y="100"/>
                  </a:lnTo>
                  <a:lnTo>
                    <a:pt x="0" y="109"/>
                  </a:lnTo>
                  <a:lnTo>
                    <a:pt x="1" y="119"/>
                  </a:lnTo>
                  <a:lnTo>
                    <a:pt x="2" y="127"/>
                  </a:lnTo>
                  <a:lnTo>
                    <a:pt x="4" y="135"/>
                  </a:lnTo>
                  <a:lnTo>
                    <a:pt x="8" y="144"/>
                  </a:lnTo>
                  <a:lnTo>
                    <a:pt x="9" y="146"/>
                  </a:lnTo>
                  <a:lnTo>
                    <a:pt x="9" y="149"/>
                  </a:lnTo>
                  <a:lnTo>
                    <a:pt x="9" y="152"/>
                  </a:lnTo>
                  <a:lnTo>
                    <a:pt x="8" y="154"/>
                  </a:lnTo>
                  <a:lnTo>
                    <a:pt x="4" y="163"/>
                  </a:lnTo>
                  <a:lnTo>
                    <a:pt x="2" y="172"/>
                  </a:lnTo>
                  <a:lnTo>
                    <a:pt x="1" y="181"/>
                  </a:lnTo>
                  <a:lnTo>
                    <a:pt x="0" y="189"/>
                  </a:lnTo>
                  <a:lnTo>
                    <a:pt x="1" y="198"/>
                  </a:lnTo>
                  <a:lnTo>
                    <a:pt x="3" y="207"/>
                  </a:lnTo>
                  <a:lnTo>
                    <a:pt x="6" y="217"/>
                  </a:lnTo>
                  <a:lnTo>
                    <a:pt x="10" y="225"/>
                  </a:lnTo>
                  <a:lnTo>
                    <a:pt x="11" y="226"/>
                  </a:lnTo>
                  <a:lnTo>
                    <a:pt x="12" y="227"/>
                  </a:lnTo>
                  <a:lnTo>
                    <a:pt x="12" y="227"/>
                  </a:lnTo>
                  <a:lnTo>
                    <a:pt x="14" y="230"/>
                  </a:lnTo>
                  <a:lnTo>
                    <a:pt x="15" y="232"/>
                  </a:lnTo>
                  <a:lnTo>
                    <a:pt x="16" y="232"/>
                  </a:lnTo>
                  <a:lnTo>
                    <a:pt x="16" y="233"/>
                  </a:lnTo>
                  <a:lnTo>
                    <a:pt x="20" y="236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40"/>
                  </a:lnTo>
                  <a:lnTo>
                    <a:pt x="26" y="243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3" y="248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44" y="253"/>
                  </a:lnTo>
                  <a:lnTo>
                    <a:pt x="52" y="257"/>
                  </a:lnTo>
                  <a:lnTo>
                    <a:pt x="60" y="259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75" y="261"/>
                  </a:lnTo>
                  <a:lnTo>
                    <a:pt x="77" y="263"/>
                  </a:lnTo>
                  <a:lnTo>
                    <a:pt x="79" y="266"/>
                  </a:lnTo>
                  <a:lnTo>
                    <a:pt x="84" y="273"/>
                  </a:lnTo>
                  <a:lnTo>
                    <a:pt x="90" y="279"/>
                  </a:lnTo>
                  <a:lnTo>
                    <a:pt x="97" y="285"/>
                  </a:lnTo>
                  <a:lnTo>
                    <a:pt x="104" y="289"/>
                  </a:lnTo>
                  <a:lnTo>
                    <a:pt x="112" y="293"/>
                  </a:lnTo>
                  <a:lnTo>
                    <a:pt x="121" y="296"/>
                  </a:lnTo>
                  <a:lnTo>
                    <a:pt x="130" y="297"/>
                  </a:lnTo>
                  <a:lnTo>
                    <a:pt x="139" y="298"/>
                  </a:lnTo>
                  <a:lnTo>
                    <a:pt x="148" y="297"/>
                  </a:lnTo>
                  <a:lnTo>
                    <a:pt x="157" y="296"/>
                  </a:lnTo>
                  <a:lnTo>
                    <a:pt x="165" y="293"/>
                  </a:lnTo>
                  <a:lnTo>
                    <a:pt x="173" y="289"/>
                  </a:lnTo>
                  <a:lnTo>
                    <a:pt x="181" y="285"/>
                  </a:lnTo>
                  <a:lnTo>
                    <a:pt x="188" y="279"/>
                  </a:lnTo>
                  <a:lnTo>
                    <a:pt x="194" y="273"/>
                  </a:lnTo>
                  <a:lnTo>
                    <a:pt x="200" y="266"/>
                  </a:lnTo>
                  <a:lnTo>
                    <a:pt x="201" y="263"/>
                  </a:lnTo>
                  <a:lnTo>
                    <a:pt x="204" y="261"/>
                  </a:lnTo>
                  <a:lnTo>
                    <a:pt x="206" y="260"/>
                  </a:lnTo>
                  <a:lnTo>
                    <a:pt x="209" y="260"/>
                  </a:lnTo>
                  <a:lnTo>
                    <a:pt x="215" y="259"/>
                  </a:lnTo>
                  <a:lnTo>
                    <a:pt x="221" y="258"/>
                  </a:lnTo>
                  <a:lnTo>
                    <a:pt x="228" y="256"/>
                  </a:lnTo>
                  <a:lnTo>
                    <a:pt x="233" y="254"/>
                  </a:lnTo>
                  <a:lnTo>
                    <a:pt x="244" y="248"/>
                  </a:lnTo>
                  <a:lnTo>
                    <a:pt x="253" y="241"/>
                  </a:lnTo>
                  <a:lnTo>
                    <a:pt x="253" y="241"/>
                  </a:lnTo>
                  <a:lnTo>
                    <a:pt x="254" y="241"/>
                  </a:lnTo>
                  <a:lnTo>
                    <a:pt x="255" y="240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9" y="236"/>
                  </a:lnTo>
                  <a:lnTo>
                    <a:pt x="261" y="233"/>
                  </a:lnTo>
                  <a:lnTo>
                    <a:pt x="262" y="232"/>
                  </a:lnTo>
                  <a:lnTo>
                    <a:pt x="262" y="232"/>
                  </a:lnTo>
                  <a:lnTo>
                    <a:pt x="265" y="228"/>
                  </a:lnTo>
                  <a:lnTo>
                    <a:pt x="267" y="225"/>
                  </a:lnTo>
                  <a:lnTo>
                    <a:pt x="270" y="220"/>
                  </a:lnTo>
                  <a:lnTo>
                    <a:pt x="272" y="215"/>
                  </a:lnTo>
                  <a:lnTo>
                    <a:pt x="272" y="215"/>
                  </a:lnTo>
                  <a:lnTo>
                    <a:pt x="273" y="212"/>
                  </a:lnTo>
                  <a:lnTo>
                    <a:pt x="274" y="209"/>
                  </a:lnTo>
                  <a:lnTo>
                    <a:pt x="275" y="206"/>
                  </a:lnTo>
                  <a:lnTo>
                    <a:pt x="275" y="204"/>
                  </a:lnTo>
                  <a:lnTo>
                    <a:pt x="275" y="202"/>
                  </a:lnTo>
                  <a:lnTo>
                    <a:pt x="276" y="199"/>
                  </a:lnTo>
                  <a:lnTo>
                    <a:pt x="276" y="197"/>
                  </a:lnTo>
                  <a:lnTo>
                    <a:pt x="277" y="195"/>
                  </a:lnTo>
                  <a:lnTo>
                    <a:pt x="277" y="193"/>
                  </a:lnTo>
                  <a:lnTo>
                    <a:pt x="277" y="191"/>
                  </a:lnTo>
                  <a:lnTo>
                    <a:pt x="277" y="188"/>
                  </a:lnTo>
                  <a:lnTo>
                    <a:pt x="277" y="186"/>
                  </a:lnTo>
                  <a:lnTo>
                    <a:pt x="277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7896332" y="1611896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896332" y="4904573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692626" y="3258234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7480513" y="1792186"/>
            <a:ext cx="287338" cy="285750"/>
            <a:chOff x="4892675" y="2516188"/>
            <a:chExt cx="287338" cy="285750"/>
          </a:xfrm>
          <a:solidFill>
            <a:schemeClr val="accent2"/>
          </a:solidFill>
        </p:grpSpPr>
        <p:sp>
          <p:nvSpPr>
            <p:cNvPr id="69" name="Freeform 1161"/>
            <p:cNvSpPr/>
            <p:nvPr/>
          </p:nvSpPr>
          <p:spPr bwMode="auto">
            <a:xfrm>
              <a:off x="4892675" y="2554288"/>
              <a:ext cx="200025" cy="220663"/>
            </a:xfrm>
            <a:custGeom>
              <a:avLst/>
              <a:gdLst>
                <a:gd name="T0" fmla="*/ 411 w 506"/>
                <a:gd name="T1" fmla="*/ 506 h 554"/>
                <a:gd name="T2" fmla="*/ 506 w 506"/>
                <a:gd name="T3" fmla="*/ 410 h 554"/>
                <a:gd name="T4" fmla="*/ 506 w 506"/>
                <a:gd name="T5" fmla="*/ 11 h 554"/>
                <a:gd name="T6" fmla="*/ 505 w 506"/>
                <a:gd name="T7" fmla="*/ 7 h 554"/>
                <a:gd name="T8" fmla="*/ 503 w 506"/>
                <a:gd name="T9" fmla="*/ 3 h 554"/>
                <a:gd name="T10" fmla="*/ 499 w 506"/>
                <a:gd name="T11" fmla="*/ 1 h 554"/>
                <a:gd name="T12" fmla="*/ 494 w 506"/>
                <a:gd name="T13" fmla="*/ 0 h 554"/>
                <a:gd name="T14" fmla="*/ 410 w 506"/>
                <a:gd name="T15" fmla="*/ 0 h 554"/>
                <a:gd name="T16" fmla="*/ 410 w 506"/>
                <a:gd name="T17" fmla="*/ 71 h 554"/>
                <a:gd name="T18" fmla="*/ 434 w 506"/>
                <a:gd name="T19" fmla="*/ 71 h 554"/>
                <a:gd name="T20" fmla="*/ 434 w 506"/>
                <a:gd name="T21" fmla="*/ 481 h 554"/>
                <a:gd name="T22" fmla="*/ 73 w 506"/>
                <a:gd name="T23" fmla="*/ 481 h 554"/>
                <a:gd name="T24" fmla="*/ 73 w 506"/>
                <a:gd name="T25" fmla="*/ 71 h 554"/>
                <a:gd name="T26" fmla="*/ 97 w 506"/>
                <a:gd name="T27" fmla="*/ 71 h 554"/>
                <a:gd name="T28" fmla="*/ 97 w 506"/>
                <a:gd name="T29" fmla="*/ 0 h 554"/>
                <a:gd name="T30" fmla="*/ 12 w 506"/>
                <a:gd name="T31" fmla="*/ 0 h 554"/>
                <a:gd name="T32" fmla="*/ 7 w 506"/>
                <a:gd name="T33" fmla="*/ 1 h 554"/>
                <a:gd name="T34" fmla="*/ 4 w 506"/>
                <a:gd name="T35" fmla="*/ 3 h 554"/>
                <a:gd name="T36" fmla="*/ 1 w 506"/>
                <a:gd name="T37" fmla="*/ 7 h 554"/>
                <a:gd name="T38" fmla="*/ 0 w 506"/>
                <a:gd name="T39" fmla="*/ 11 h 554"/>
                <a:gd name="T40" fmla="*/ 0 w 506"/>
                <a:gd name="T41" fmla="*/ 494 h 554"/>
                <a:gd name="T42" fmla="*/ 0 w 506"/>
                <a:gd name="T43" fmla="*/ 501 h 554"/>
                <a:gd name="T44" fmla="*/ 1 w 506"/>
                <a:gd name="T45" fmla="*/ 508 h 554"/>
                <a:gd name="T46" fmla="*/ 2 w 506"/>
                <a:gd name="T47" fmla="*/ 514 h 554"/>
                <a:gd name="T48" fmla="*/ 4 w 506"/>
                <a:gd name="T49" fmla="*/ 520 h 554"/>
                <a:gd name="T50" fmla="*/ 6 w 506"/>
                <a:gd name="T51" fmla="*/ 525 h 554"/>
                <a:gd name="T52" fmla="*/ 9 w 506"/>
                <a:gd name="T53" fmla="*/ 530 h 554"/>
                <a:gd name="T54" fmla="*/ 12 w 506"/>
                <a:gd name="T55" fmla="*/ 534 h 554"/>
                <a:gd name="T56" fmla="*/ 15 w 506"/>
                <a:gd name="T57" fmla="*/ 538 h 554"/>
                <a:gd name="T58" fmla="*/ 20 w 506"/>
                <a:gd name="T59" fmla="*/ 542 h 554"/>
                <a:gd name="T60" fmla="*/ 24 w 506"/>
                <a:gd name="T61" fmla="*/ 546 h 554"/>
                <a:gd name="T62" fmla="*/ 29 w 506"/>
                <a:gd name="T63" fmla="*/ 548 h 554"/>
                <a:gd name="T64" fmla="*/ 35 w 506"/>
                <a:gd name="T65" fmla="*/ 550 h 554"/>
                <a:gd name="T66" fmla="*/ 40 w 506"/>
                <a:gd name="T67" fmla="*/ 552 h 554"/>
                <a:gd name="T68" fmla="*/ 46 w 506"/>
                <a:gd name="T69" fmla="*/ 553 h 554"/>
                <a:gd name="T70" fmla="*/ 53 w 506"/>
                <a:gd name="T71" fmla="*/ 554 h 554"/>
                <a:gd name="T72" fmla="*/ 60 w 506"/>
                <a:gd name="T73" fmla="*/ 554 h 554"/>
                <a:gd name="T74" fmla="*/ 396 w 506"/>
                <a:gd name="T75" fmla="*/ 554 h 554"/>
                <a:gd name="T76" fmla="*/ 408 w 506"/>
                <a:gd name="T77" fmla="*/ 512 h 554"/>
                <a:gd name="T78" fmla="*/ 409 w 506"/>
                <a:gd name="T79" fmla="*/ 509 h 554"/>
                <a:gd name="T80" fmla="*/ 411 w 506"/>
                <a:gd name="T81" fmla="*/ 506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54">
                  <a:moveTo>
                    <a:pt x="411" y="506"/>
                  </a:moveTo>
                  <a:lnTo>
                    <a:pt x="506" y="410"/>
                  </a:lnTo>
                  <a:lnTo>
                    <a:pt x="506" y="11"/>
                  </a:lnTo>
                  <a:lnTo>
                    <a:pt x="505" y="7"/>
                  </a:lnTo>
                  <a:lnTo>
                    <a:pt x="503" y="3"/>
                  </a:lnTo>
                  <a:lnTo>
                    <a:pt x="499" y="1"/>
                  </a:lnTo>
                  <a:lnTo>
                    <a:pt x="494" y="0"/>
                  </a:lnTo>
                  <a:lnTo>
                    <a:pt x="410" y="0"/>
                  </a:lnTo>
                  <a:lnTo>
                    <a:pt x="410" y="71"/>
                  </a:lnTo>
                  <a:lnTo>
                    <a:pt x="434" y="71"/>
                  </a:lnTo>
                  <a:lnTo>
                    <a:pt x="434" y="481"/>
                  </a:lnTo>
                  <a:lnTo>
                    <a:pt x="73" y="481"/>
                  </a:lnTo>
                  <a:lnTo>
                    <a:pt x="73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0" y="501"/>
                  </a:lnTo>
                  <a:lnTo>
                    <a:pt x="1" y="508"/>
                  </a:lnTo>
                  <a:lnTo>
                    <a:pt x="2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20" y="542"/>
                  </a:lnTo>
                  <a:lnTo>
                    <a:pt x="24" y="546"/>
                  </a:lnTo>
                  <a:lnTo>
                    <a:pt x="29" y="548"/>
                  </a:lnTo>
                  <a:lnTo>
                    <a:pt x="35" y="550"/>
                  </a:lnTo>
                  <a:lnTo>
                    <a:pt x="40" y="552"/>
                  </a:lnTo>
                  <a:lnTo>
                    <a:pt x="46" y="553"/>
                  </a:lnTo>
                  <a:lnTo>
                    <a:pt x="53" y="554"/>
                  </a:lnTo>
                  <a:lnTo>
                    <a:pt x="60" y="554"/>
                  </a:lnTo>
                  <a:lnTo>
                    <a:pt x="396" y="554"/>
                  </a:lnTo>
                  <a:lnTo>
                    <a:pt x="408" y="512"/>
                  </a:lnTo>
                  <a:lnTo>
                    <a:pt x="409" y="509"/>
                  </a:lnTo>
                  <a:lnTo>
                    <a:pt x="411" y="5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162"/>
            <p:cNvSpPr/>
            <p:nvPr/>
          </p:nvSpPr>
          <p:spPr bwMode="auto">
            <a:xfrm>
              <a:off x="4953000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7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7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8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8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7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8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8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163"/>
            <p:cNvSpPr/>
            <p:nvPr/>
          </p:nvSpPr>
          <p:spPr bwMode="auto">
            <a:xfrm>
              <a:off x="4940300" y="2516188"/>
              <a:ext cx="104775" cy="82550"/>
            </a:xfrm>
            <a:custGeom>
              <a:avLst/>
              <a:gdLst>
                <a:gd name="T0" fmla="*/ 253 w 266"/>
                <a:gd name="T1" fmla="*/ 205 h 205"/>
                <a:gd name="T2" fmla="*/ 263 w 266"/>
                <a:gd name="T3" fmla="*/ 202 h 205"/>
                <a:gd name="T4" fmla="*/ 266 w 266"/>
                <a:gd name="T5" fmla="*/ 193 h 205"/>
                <a:gd name="T6" fmla="*/ 265 w 266"/>
                <a:gd name="T7" fmla="*/ 56 h 205"/>
                <a:gd name="T8" fmla="*/ 258 w 266"/>
                <a:gd name="T9" fmla="*/ 49 h 205"/>
                <a:gd name="T10" fmla="*/ 217 w 266"/>
                <a:gd name="T11" fmla="*/ 48 h 205"/>
                <a:gd name="T12" fmla="*/ 205 w 266"/>
                <a:gd name="T13" fmla="*/ 43 h 205"/>
                <a:gd name="T14" fmla="*/ 200 w 266"/>
                <a:gd name="T15" fmla="*/ 32 h 205"/>
                <a:gd name="T16" fmla="*/ 192 w 266"/>
                <a:gd name="T17" fmla="*/ 19 h 205"/>
                <a:gd name="T18" fmla="*/ 178 w 266"/>
                <a:gd name="T19" fmla="*/ 9 h 205"/>
                <a:gd name="T20" fmla="*/ 169 w 266"/>
                <a:gd name="T21" fmla="*/ 5 h 205"/>
                <a:gd name="T22" fmla="*/ 166 w 266"/>
                <a:gd name="T23" fmla="*/ 4 h 205"/>
                <a:gd name="T24" fmla="*/ 162 w 266"/>
                <a:gd name="T25" fmla="*/ 4 h 205"/>
                <a:gd name="T26" fmla="*/ 158 w 266"/>
                <a:gd name="T27" fmla="*/ 3 h 205"/>
                <a:gd name="T28" fmla="*/ 154 w 266"/>
                <a:gd name="T29" fmla="*/ 2 h 205"/>
                <a:gd name="T30" fmla="*/ 150 w 266"/>
                <a:gd name="T31" fmla="*/ 1 h 205"/>
                <a:gd name="T32" fmla="*/ 145 w 266"/>
                <a:gd name="T33" fmla="*/ 1 h 205"/>
                <a:gd name="T34" fmla="*/ 140 w 266"/>
                <a:gd name="T35" fmla="*/ 0 h 205"/>
                <a:gd name="T36" fmla="*/ 131 w 266"/>
                <a:gd name="T37" fmla="*/ 0 h 205"/>
                <a:gd name="T38" fmla="*/ 125 w 266"/>
                <a:gd name="T39" fmla="*/ 1 h 205"/>
                <a:gd name="T40" fmla="*/ 121 w 266"/>
                <a:gd name="T41" fmla="*/ 1 h 205"/>
                <a:gd name="T42" fmla="*/ 117 w 266"/>
                <a:gd name="T43" fmla="*/ 2 h 205"/>
                <a:gd name="T44" fmla="*/ 113 w 266"/>
                <a:gd name="T45" fmla="*/ 3 h 205"/>
                <a:gd name="T46" fmla="*/ 110 w 266"/>
                <a:gd name="T47" fmla="*/ 4 h 205"/>
                <a:gd name="T48" fmla="*/ 106 w 266"/>
                <a:gd name="T49" fmla="*/ 4 h 205"/>
                <a:gd name="T50" fmla="*/ 102 w 266"/>
                <a:gd name="T51" fmla="*/ 5 h 205"/>
                <a:gd name="T52" fmla="*/ 92 w 266"/>
                <a:gd name="T53" fmla="*/ 9 h 205"/>
                <a:gd name="T54" fmla="*/ 79 w 266"/>
                <a:gd name="T55" fmla="*/ 19 h 205"/>
                <a:gd name="T56" fmla="*/ 70 w 266"/>
                <a:gd name="T57" fmla="*/ 32 h 205"/>
                <a:gd name="T58" fmla="*/ 65 w 266"/>
                <a:gd name="T59" fmla="*/ 43 h 205"/>
                <a:gd name="T60" fmla="*/ 55 w 266"/>
                <a:gd name="T61" fmla="*/ 48 h 205"/>
                <a:gd name="T62" fmla="*/ 9 w 266"/>
                <a:gd name="T63" fmla="*/ 49 h 205"/>
                <a:gd name="T64" fmla="*/ 1 w 266"/>
                <a:gd name="T65" fmla="*/ 56 h 205"/>
                <a:gd name="T66" fmla="*/ 0 w 266"/>
                <a:gd name="T67" fmla="*/ 193 h 205"/>
                <a:gd name="T68" fmla="*/ 5 w 266"/>
                <a:gd name="T69" fmla="*/ 202 h 205"/>
                <a:gd name="T70" fmla="*/ 13 w 266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6" h="205">
                  <a:moveTo>
                    <a:pt x="13" y="205"/>
                  </a:moveTo>
                  <a:lnTo>
                    <a:pt x="253" y="205"/>
                  </a:lnTo>
                  <a:lnTo>
                    <a:pt x="258" y="204"/>
                  </a:lnTo>
                  <a:lnTo>
                    <a:pt x="263" y="202"/>
                  </a:lnTo>
                  <a:lnTo>
                    <a:pt x="265" y="198"/>
                  </a:lnTo>
                  <a:lnTo>
                    <a:pt x="266" y="193"/>
                  </a:lnTo>
                  <a:lnTo>
                    <a:pt x="266" y="60"/>
                  </a:lnTo>
                  <a:lnTo>
                    <a:pt x="265" y="56"/>
                  </a:lnTo>
                  <a:lnTo>
                    <a:pt x="263" y="52"/>
                  </a:lnTo>
                  <a:lnTo>
                    <a:pt x="258" y="49"/>
                  </a:lnTo>
                  <a:lnTo>
                    <a:pt x="253" y="48"/>
                  </a:lnTo>
                  <a:lnTo>
                    <a:pt x="217" y="48"/>
                  </a:lnTo>
                  <a:lnTo>
                    <a:pt x="207" y="48"/>
                  </a:lnTo>
                  <a:lnTo>
                    <a:pt x="205" y="43"/>
                  </a:lnTo>
                  <a:lnTo>
                    <a:pt x="203" y="38"/>
                  </a:lnTo>
                  <a:lnTo>
                    <a:pt x="200" y="32"/>
                  </a:lnTo>
                  <a:lnTo>
                    <a:pt x="197" y="26"/>
                  </a:lnTo>
                  <a:lnTo>
                    <a:pt x="192" y="19"/>
                  </a:lnTo>
                  <a:lnTo>
                    <a:pt x="186" y="14"/>
                  </a:lnTo>
                  <a:lnTo>
                    <a:pt x="178" y="9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6" y="4"/>
                  </a:lnTo>
                  <a:lnTo>
                    <a:pt x="163" y="4"/>
                  </a:lnTo>
                  <a:lnTo>
                    <a:pt x="162" y="4"/>
                  </a:lnTo>
                  <a:lnTo>
                    <a:pt x="161" y="4"/>
                  </a:lnTo>
                  <a:lnTo>
                    <a:pt x="158" y="3"/>
                  </a:lnTo>
                  <a:lnTo>
                    <a:pt x="155" y="2"/>
                  </a:lnTo>
                  <a:lnTo>
                    <a:pt x="154" y="2"/>
                  </a:lnTo>
                  <a:lnTo>
                    <a:pt x="153" y="1"/>
                  </a:lnTo>
                  <a:lnTo>
                    <a:pt x="150" y="1"/>
                  </a:lnTo>
                  <a:lnTo>
                    <a:pt x="147" y="1"/>
                  </a:lnTo>
                  <a:lnTo>
                    <a:pt x="145" y="1"/>
                  </a:lnTo>
                  <a:lnTo>
                    <a:pt x="144" y="1"/>
                  </a:lnTo>
                  <a:lnTo>
                    <a:pt x="140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6" y="1"/>
                  </a:lnTo>
                  <a:lnTo>
                    <a:pt x="125" y="1"/>
                  </a:lnTo>
                  <a:lnTo>
                    <a:pt x="124" y="1"/>
                  </a:lnTo>
                  <a:lnTo>
                    <a:pt x="121" y="1"/>
                  </a:lnTo>
                  <a:lnTo>
                    <a:pt x="118" y="1"/>
                  </a:lnTo>
                  <a:lnTo>
                    <a:pt x="117" y="2"/>
                  </a:lnTo>
                  <a:lnTo>
                    <a:pt x="116" y="2"/>
                  </a:lnTo>
                  <a:lnTo>
                    <a:pt x="113" y="3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09" y="4"/>
                  </a:lnTo>
                  <a:lnTo>
                    <a:pt x="106" y="4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5" y="14"/>
                  </a:lnTo>
                  <a:lnTo>
                    <a:pt x="79" y="19"/>
                  </a:lnTo>
                  <a:lnTo>
                    <a:pt x="74" y="26"/>
                  </a:lnTo>
                  <a:lnTo>
                    <a:pt x="70" y="32"/>
                  </a:lnTo>
                  <a:lnTo>
                    <a:pt x="67" y="38"/>
                  </a:lnTo>
                  <a:lnTo>
                    <a:pt x="65" y="43"/>
                  </a:lnTo>
                  <a:lnTo>
                    <a:pt x="64" y="48"/>
                  </a:lnTo>
                  <a:lnTo>
                    <a:pt x="55" y="48"/>
                  </a:lnTo>
                  <a:lnTo>
                    <a:pt x="13" y="48"/>
                  </a:lnTo>
                  <a:lnTo>
                    <a:pt x="9" y="49"/>
                  </a:lnTo>
                  <a:lnTo>
                    <a:pt x="5" y="52"/>
                  </a:lnTo>
                  <a:lnTo>
                    <a:pt x="1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1" y="198"/>
                  </a:lnTo>
                  <a:lnTo>
                    <a:pt x="5" y="202"/>
                  </a:lnTo>
                  <a:lnTo>
                    <a:pt x="9" y="204"/>
                  </a:lnTo>
                  <a:lnTo>
                    <a:pt x="13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1164"/>
            <p:cNvSpPr/>
            <p:nvPr/>
          </p:nvSpPr>
          <p:spPr bwMode="auto">
            <a:xfrm>
              <a:off x="5051425" y="2767013"/>
              <a:ext cx="34925" cy="34925"/>
            </a:xfrm>
            <a:custGeom>
              <a:avLst/>
              <a:gdLst>
                <a:gd name="T0" fmla="*/ 0 w 88"/>
                <a:gd name="T1" fmla="*/ 88 h 88"/>
                <a:gd name="T2" fmla="*/ 88 w 88"/>
                <a:gd name="T3" fmla="*/ 64 h 88"/>
                <a:gd name="T4" fmla="*/ 25 w 88"/>
                <a:gd name="T5" fmla="*/ 0 h 88"/>
                <a:gd name="T6" fmla="*/ 0 w 88"/>
                <a:gd name="T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lnTo>
                    <a:pt x="88" y="64"/>
                  </a:lnTo>
                  <a:lnTo>
                    <a:pt x="25" y="0"/>
                  </a:lnTo>
                  <a:lnTo>
                    <a:pt x="0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1165"/>
            <p:cNvSpPr/>
            <p:nvPr/>
          </p:nvSpPr>
          <p:spPr bwMode="auto">
            <a:xfrm>
              <a:off x="5065713" y="2701925"/>
              <a:ext cx="87313" cy="85725"/>
            </a:xfrm>
            <a:custGeom>
              <a:avLst/>
              <a:gdLst>
                <a:gd name="T0" fmla="*/ 0 w 218"/>
                <a:gd name="T1" fmla="*/ 145 h 218"/>
                <a:gd name="T2" fmla="*/ 73 w 218"/>
                <a:gd name="T3" fmla="*/ 218 h 218"/>
                <a:gd name="T4" fmla="*/ 218 w 218"/>
                <a:gd name="T5" fmla="*/ 74 h 218"/>
                <a:gd name="T6" fmla="*/ 144 w 218"/>
                <a:gd name="T7" fmla="*/ 0 h 218"/>
                <a:gd name="T8" fmla="*/ 0 w 218"/>
                <a:gd name="T9" fmla="*/ 145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18">
                  <a:moveTo>
                    <a:pt x="0" y="145"/>
                  </a:moveTo>
                  <a:lnTo>
                    <a:pt x="73" y="218"/>
                  </a:lnTo>
                  <a:lnTo>
                    <a:pt x="218" y="74"/>
                  </a:lnTo>
                  <a:lnTo>
                    <a:pt x="144" y="0"/>
                  </a:lnTo>
                  <a:lnTo>
                    <a:pt x="0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1166"/>
            <p:cNvSpPr/>
            <p:nvPr/>
          </p:nvSpPr>
          <p:spPr bwMode="auto">
            <a:xfrm>
              <a:off x="5130800" y="2674938"/>
              <a:ext cx="49213" cy="49213"/>
            </a:xfrm>
            <a:custGeom>
              <a:avLst/>
              <a:gdLst>
                <a:gd name="T0" fmla="*/ 50 w 123"/>
                <a:gd name="T1" fmla="*/ 0 h 123"/>
                <a:gd name="T2" fmla="*/ 0 w 123"/>
                <a:gd name="T3" fmla="*/ 50 h 123"/>
                <a:gd name="T4" fmla="*/ 73 w 123"/>
                <a:gd name="T5" fmla="*/ 123 h 123"/>
                <a:gd name="T6" fmla="*/ 123 w 123"/>
                <a:gd name="T7" fmla="*/ 73 h 123"/>
                <a:gd name="T8" fmla="*/ 50 w 123"/>
                <a:gd name="T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3">
                  <a:moveTo>
                    <a:pt x="50" y="0"/>
                  </a:moveTo>
                  <a:lnTo>
                    <a:pt x="0" y="50"/>
                  </a:lnTo>
                  <a:lnTo>
                    <a:pt x="73" y="123"/>
                  </a:lnTo>
                  <a:lnTo>
                    <a:pt x="123" y="73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1167"/>
            <p:cNvSpPr/>
            <p:nvPr/>
          </p:nvSpPr>
          <p:spPr bwMode="auto">
            <a:xfrm>
              <a:off x="4953000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7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7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8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8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8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8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1168"/>
            <p:cNvSpPr/>
            <p:nvPr/>
          </p:nvSpPr>
          <p:spPr bwMode="auto">
            <a:xfrm>
              <a:off x="4953000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8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7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7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8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8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8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1169"/>
            <p:cNvSpPr/>
            <p:nvPr/>
          </p:nvSpPr>
          <p:spPr bwMode="auto">
            <a:xfrm>
              <a:off x="4953000" y="2708275"/>
              <a:ext cx="46038" cy="9525"/>
            </a:xfrm>
            <a:custGeom>
              <a:avLst/>
              <a:gdLst>
                <a:gd name="T0" fmla="*/ 12 w 115"/>
                <a:gd name="T1" fmla="*/ 0 h 24"/>
                <a:gd name="T2" fmla="*/ 7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7 w 115"/>
                <a:gd name="T15" fmla="*/ 23 h 24"/>
                <a:gd name="T16" fmla="*/ 12 w 115"/>
                <a:gd name="T17" fmla="*/ 24 h 24"/>
                <a:gd name="T18" fmla="*/ 103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3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7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03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3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7481307" y="5087888"/>
            <a:ext cx="285750" cy="285750"/>
            <a:chOff x="8167688" y="771525"/>
            <a:chExt cx="285750" cy="285750"/>
          </a:xfrm>
          <a:solidFill>
            <a:schemeClr val="accent3"/>
          </a:solidFill>
        </p:grpSpPr>
        <p:sp>
          <p:nvSpPr>
            <p:cNvPr id="105" name="Freeform 3491"/>
            <p:cNvSpPr>
              <a:spLocks noEditPoints="1"/>
            </p:cNvSpPr>
            <p:nvPr/>
          </p:nvSpPr>
          <p:spPr bwMode="auto">
            <a:xfrm>
              <a:off x="8167688" y="847725"/>
              <a:ext cx="285750" cy="209550"/>
            </a:xfrm>
            <a:custGeom>
              <a:avLst/>
              <a:gdLst>
                <a:gd name="T0" fmla="*/ 624 w 721"/>
                <a:gd name="T1" fmla="*/ 265 h 528"/>
                <a:gd name="T2" fmla="*/ 695 w 721"/>
                <a:gd name="T3" fmla="*/ 120 h 528"/>
                <a:gd name="T4" fmla="*/ 718 w 721"/>
                <a:gd name="T5" fmla="*/ 101 h 528"/>
                <a:gd name="T6" fmla="*/ 709 w 721"/>
                <a:gd name="T7" fmla="*/ 97 h 528"/>
                <a:gd name="T8" fmla="*/ 624 w 721"/>
                <a:gd name="T9" fmla="*/ 12 h 528"/>
                <a:gd name="T10" fmla="*/ 622 w 721"/>
                <a:gd name="T11" fmla="*/ 3 h 528"/>
                <a:gd name="T12" fmla="*/ 613 w 721"/>
                <a:gd name="T13" fmla="*/ 0 h 528"/>
                <a:gd name="T14" fmla="*/ 529 w 721"/>
                <a:gd name="T15" fmla="*/ 97 h 528"/>
                <a:gd name="T16" fmla="*/ 526 w 721"/>
                <a:gd name="T17" fmla="*/ 110 h 528"/>
                <a:gd name="T18" fmla="*/ 518 w 721"/>
                <a:gd name="T19" fmla="*/ 121 h 528"/>
                <a:gd name="T20" fmla="*/ 506 w 721"/>
                <a:gd name="T21" fmla="*/ 129 h 528"/>
                <a:gd name="T22" fmla="*/ 492 w 721"/>
                <a:gd name="T23" fmla="*/ 133 h 528"/>
                <a:gd name="T24" fmla="*/ 479 w 721"/>
                <a:gd name="T25" fmla="*/ 129 h 528"/>
                <a:gd name="T26" fmla="*/ 468 w 721"/>
                <a:gd name="T27" fmla="*/ 121 h 528"/>
                <a:gd name="T28" fmla="*/ 460 w 721"/>
                <a:gd name="T29" fmla="*/ 110 h 528"/>
                <a:gd name="T30" fmla="*/ 456 w 721"/>
                <a:gd name="T31" fmla="*/ 97 h 528"/>
                <a:gd name="T32" fmla="*/ 133 w 721"/>
                <a:gd name="T33" fmla="*/ 0 h 528"/>
                <a:gd name="T34" fmla="*/ 104 w 721"/>
                <a:gd name="T35" fmla="*/ 2 h 528"/>
                <a:gd name="T36" fmla="*/ 79 w 721"/>
                <a:gd name="T37" fmla="*/ 9 h 528"/>
                <a:gd name="T38" fmla="*/ 57 w 721"/>
                <a:gd name="T39" fmla="*/ 20 h 528"/>
                <a:gd name="T40" fmla="*/ 38 w 721"/>
                <a:gd name="T41" fmla="*/ 34 h 528"/>
                <a:gd name="T42" fmla="*/ 21 w 721"/>
                <a:gd name="T43" fmla="*/ 50 h 528"/>
                <a:gd name="T44" fmla="*/ 9 w 721"/>
                <a:gd name="T45" fmla="*/ 71 h 528"/>
                <a:gd name="T46" fmla="*/ 3 w 721"/>
                <a:gd name="T47" fmla="*/ 94 h 528"/>
                <a:gd name="T48" fmla="*/ 0 w 721"/>
                <a:gd name="T49" fmla="*/ 120 h 528"/>
                <a:gd name="T50" fmla="*/ 2 w 721"/>
                <a:gd name="T51" fmla="*/ 305 h 528"/>
                <a:gd name="T52" fmla="*/ 8 w 721"/>
                <a:gd name="T53" fmla="*/ 311 h 528"/>
                <a:gd name="T54" fmla="*/ 337 w 721"/>
                <a:gd name="T55" fmla="*/ 312 h 528"/>
                <a:gd name="T56" fmla="*/ 338 w 721"/>
                <a:gd name="T57" fmla="*/ 522 h 528"/>
                <a:gd name="T58" fmla="*/ 344 w 721"/>
                <a:gd name="T59" fmla="*/ 528 h 528"/>
                <a:gd name="T60" fmla="*/ 353 w 721"/>
                <a:gd name="T61" fmla="*/ 528 h 528"/>
                <a:gd name="T62" fmla="*/ 360 w 721"/>
                <a:gd name="T63" fmla="*/ 522 h 528"/>
                <a:gd name="T64" fmla="*/ 361 w 721"/>
                <a:gd name="T65" fmla="*/ 312 h 528"/>
                <a:gd name="T66" fmla="*/ 618 w 721"/>
                <a:gd name="T67" fmla="*/ 311 h 528"/>
                <a:gd name="T68" fmla="*/ 624 w 721"/>
                <a:gd name="T69" fmla="*/ 305 h 528"/>
                <a:gd name="T70" fmla="*/ 624 w 721"/>
                <a:gd name="T71" fmla="*/ 288 h 528"/>
                <a:gd name="T72" fmla="*/ 690 w 721"/>
                <a:gd name="T73" fmla="*/ 288 h 528"/>
                <a:gd name="T74" fmla="*/ 695 w 721"/>
                <a:gd name="T75" fmla="*/ 282 h 528"/>
                <a:gd name="T76" fmla="*/ 721 w 721"/>
                <a:gd name="T77" fmla="*/ 110 h 528"/>
                <a:gd name="T78" fmla="*/ 718 w 721"/>
                <a:gd name="T79" fmla="*/ 101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1" h="528">
                  <a:moveTo>
                    <a:pt x="675" y="265"/>
                  </a:moveTo>
                  <a:lnTo>
                    <a:pt x="624" y="265"/>
                  </a:lnTo>
                  <a:lnTo>
                    <a:pt x="624" y="120"/>
                  </a:lnTo>
                  <a:lnTo>
                    <a:pt x="695" y="120"/>
                  </a:lnTo>
                  <a:lnTo>
                    <a:pt x="675" y="265"/>
                  </a:lnTo>
                  <a:close/>
                  <a:moveTo>
                    <a:pt x="718" y="101"/>
                  </a:moveTo>
                  <a:lnTo>
                    <a:pt x="714" y="97"/>
                  </a:lnTo>
                  <a:lnTo>
                    <a:pt x="709" y="97"/>
                  </a:lnTo>
                  <a:lnTo>
                    <a:pt x="624" y="97"/>
                  </a:lnTo>
                  <a:lnTo>
                    <a:pt x="624" y="12"/>
                  </a:lnTo>
                  <a:lnTo>
                    <a:pt x="624" y="7"/>
                  </a:lnTo>
                  <a:lnTo>
                    <a:pt x="622" y="3"/>
                  </a:lnTo>
                  <a:lnTo>
                    <a:pt x="618" y="0"/>
                  </a:lnTo>
                  <a:lnTo>
                    <a:pt x="613" y="0"/>
                  </a:lnTo>
                  <a:lnTo>
                    <a:pt x="529" y="0"/>
                  </a:lnTo>
                  <a:lnTo>
                    <a:pt x="529" y="97"/>
                  </a:lnTo>
                  <a:lnTo>
                    <a:pt x="528" y="103"/>
                  </a:lnTo>
                  <a:lnTo>
                    <a:pt x="526" y="110"/>
                  </a:lnTo>
                  <a:lnTo>
                    <a:pt x="523" y="116"/>
                  </a:lnTo>
                  <a:lnTo>
                    <a:pt x="518" y="121"/>
                  </a:lnTo>
                  <a:lnTo>
                    <a:pt x="513" y="126"/>
                  </a:lnTo>
                  <a:lnTo>
                    <a:pt x="506" y="129"/>
                  </a:lnTo>
                  <a:lnTo>
                    <a:pt x="500" y="131"/>
                  </a:lnTo>
                  <a:lnTo>
                    <a:pt x="492" y="133"/>
                  </a:lnTo>
                  <a:lnTo>
                    <a:pt x="486" y="131"/>
                  </a:lnTo>
                  <a:lnTo>
                    <a:pt x="479" y="129"/>
                  </a:lnTo>
                  <a:lnTo>
                    <a:pt x="473" y="126"/>
                  </a:lnTo>
                  <a:lnTo>
                    <a:pt x="468" y="121"/>
                  </a:lnTo>
                  <a:lnTo>
                    <a:pt x="463" y="116"/>
                  </a:lnTo>
                  <a:lnTo>
                    <a:pt x="460" y="110"/>
                  </a:lnTo>
                  <a:lnTo>
                    <a:pt x="458" y="103"/>
                  </a:lnTo>
                  <a:lnTo>
                    <a:pt x="456" y="97"/>
                  </a:lnTo>
                  <a:lnTo>
                    <a:pt x="456" y="0"/>
                  </a:lnTo>
                  <a:lnTo>
                    <a:pt x="133" y="0"/>
                  </a:lnTo>
                  <a:lnTo>
                    <a:pt x="118" y="0"/>
                  </a:lnTo>
                  <a:lnTo>
                    <a:pt x="104" y="2"/>
                  </a:lnTo>
                  <a:lnTo>
                    <a:pt x="91" y="6"/>
                  </a:lnTo>
                  <a:lnTo>
                    <a:pt x="79" y="9"/>
                  </a:lnTo>
                  <a:lnTo>
                    <a:pt x="67" y="13"/>
                  </a:lnTo>
                  <a:lnTo>
                    <a:pt x="57" y="20"/>
                  </a:lnTo>
                  <a:lnTo>
                    <a:pt x="47" y="26"/>
                  </a:lnTo>
                  <a:lnTo>
                    <a:pt x="38" y="34"/>
                  </a:lnTo>
                  <a:lnTo>
                    <a:pt x="29" y="42"/>
                  </a:lnTo>
                  <a:lnTo>
                    <a:pt x="21" y="50"/>
                  </a:lnTo>
                  <a:lnTo>
                    <a:pt x="14" y="61"/>
                  </a:lnTo>
                  <a:lnTo>
                    <a:pt x="9" y="71"/>
                  </a:lnTo>
                  <a:lnTo>
                    <a:pt x="5" y="83"/>
                  </a:lnTo>
                  <a:lnTo>
                    <a:pt x="3" y="94"/>
                  </a:lnTo>
                  <a:lnTo>
                    <a:pt x="0" y="107"/>
                  </a:lnTo>
                  <a:lnTo>
                    <a:pt x="0" y="120"/>
                  </a:lnTo>
                  <a:lnTo>
                    <a:pt x="0" y="301"/>
                  </a:lnTo>
                  <a:lnTo>
                    <a:pt x="2" y="305"/>
                  </a:lnTo>
                  <a:lnTo>
                    <a:pt x="4" y="309"/>
                  </a:lnTo>
                  <a:lnTo>
                    <a:pt x="8" y="311"/>
                  </a:lnTo>
                  <a:lnTo>
                    <a:pt x="12" y="312"/>
                  </a:lnTo>
                  <a:lnTo>
                    <a:pt x="337" y="312"/>
                  </a:lnTo>
                  <a:lnTo>
                    <a:pt x="337" y="517"/>
                  </a:lnTo>
                  <a:lnTo>
                    <a:pt x="338" y="522"/>
                  </a:lnTo>
                  <a:lnTo>
                    <a:pt x="341" y="526"/>
                  </a:lnTo>
                  <a:lnTo>
                    <a:pt x="344" y="528"/>
                  </a:lnTo>
                  <a:lnTo>
                    <a:pt x="348" y="528"/>
                  </a:lnTo>
                  <a:lnTo>
                    <a:pt x="353" y="528"/>
                  </a:lnTo>
                  <a:lnTo>
                    <a:pt x="357" y="526"/>
                  </a:lnTo>
                  <a:lnTo>
                    <a:pt x="360" y="522"/>
                  </a:lnTo>
                  <a:lnTo>
                    <a:pt x="361" y="517"/>
                  </a:lnTo>
                  <a:lnTo>
                    <a:pt x="361" y="312"/>
                  </a:lnTo>
                  <a:lnTo>
                    <a:pt x="613" y="312"/>
                  </a:lnTo>
                  <a:lnTo>
                    <a:pt x="618" y="311"/>
                  </a:lnTo>
                  <a:lnTo>
                    <a:pt x="622" y="309"/>
                  </a:lnTo>
                  <a:lnTo>
                    <a:pt x="624" y="305"/>
                  </a:lnTo>
                  <a:lnTo>
                    <a:pt x="624" y="301"/>
                  </a:lnTo>
                  <a:lnTo>
                    <a:pt x="624" y="288"/>
                  </a:lnTo>
                  <a:lnTo>
                    <a:pt x="685" y="288"/>
                  </a:lnTo>
                  <a:lnTo>
                    <a:pt x="690" y="288"/>
                  </a:lnTo>
                  <a:lnTo>
                    <a:pt x="693" y="286"/>
                  </a:lnTo>
                  <a:lnTo>
                    <a:pt x="695" y="282"/>
                  </a:lnTo>
                  <a:lnTo>
                    <a:pt x="696" y="278"/>
                  </a:lnTo>
                  <a:lnTo>
                    <a:pt x="721" y="110"/>
                  </a:lnTo>
                  <a:lnTo>
                    <a:pt x="721" y="104"/>
                  </a:lnTo>
                  <a:lnTo>
                    <a:pt x="71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6" name="Freeform 3492"/>
            <p:cNvSpPr/>
            <p:nvPr/>
          </p:nvSpPr>
          <p:spPr bwMode="auto">
            <a:xfrm>
              <a:off x="8301038" y="771525"/>
              <a:ext cx="66675" cy="119063"/>
            </a:xfrm>
            <a:custGeom>
              <a:avLst/>
              <a:gdLst>
                <a:gd name="T0" fmla="*/ 11 w 168"/>
                <a:gd name="T1" fmla="*/ 120 h 300"/>
                <a:gd name="T2" fmla="*/ 119 w 168"/>
                <a:gd name="T3" fmla="*/ 120 h 300"/>
                <a:gd name="T4" fmla="*/ 144 w 168"/>
                <a:gd name="T5" fmla="*/ 120 h 300"/>
                <a:gd name="T6" fmla="*/ 144 w 168"/>
                <a:gd name="T7" fmla="*/ 289 h 300"/>
                <a:gd name="T8" fmla="*/ 145 w 168"/>
                <a:gd name="T9" fmla="*/ 293 h 300"/>
                <a:gd name="T10" fmla="*/ 147 w 168"/>
                <a:gd name="T11" fmla="*/ 296 h 300"/>
                <a:gd name="T12" fmla="*/ 151 w 168"/>
                <a:gd name="T13" fmla="*/ 299 h 300"/>
                <a:gd name="T14" fmla="*/ 155 w 168"/>
                <a:gd name="T15" fmla="*/ 300 h 300"/>
                <a:gd name="T16" fmla="*/ 160 w 168"/>
                <a:gd name="T17" fmla="*/ 299 h 300"/>
                <a:gd name="T18" fmla="*/ 164 w 168"/>
                <a:gd name="T19" fmla="*/ 296 h 300"/>
                <a:gd name="T20" fmla="*/ 167 w 168"/>
                <a:gd name="T21" fmla="*/ 293 h 300"/>
                <a:gd name="T22" fmla="*/ 168 w 168"/>
                <a:gd name="T23" fmla="*/ 289 h 300"/>
                <a:gd name="T24" fmla="*/ 168 w 168"/>
                <a:gd name="T25" fmla="*/ 108 h 300"/>
                <a:gd name="T26" fmla="*/ 168 w 168"/>
                <a:gd name="T27" fmla="*/ 11 h 300"/>
                <a:gd name="T28" fmla="*/ 167 w 168"/>
                <a:gd name="T29" fmla="*/ 7 h 300"/>
                <a:gd name="T30" fmla="*/ 164 w 168"/>
                <a:gd name="T31" fmla="*/ 4 h 300"/>
                <a:gd name="T32" fmla="*/ 160 w 168"/>
                <a:gd name="T33" fmla="*/ 1 h 300"/>
                <a:gd name="T34" fmla="*/ 155 w 168"/>
                <a:gd name="T35" fmla="*/ 0 h 300"/>
                <a:gd name="T36" fmla="*/ 122 w 168"/>
                <a:gd name="T37" fmla="*/ 0 h 300"/>
                <a:gd name="T38" fmla="*/ 11 w 168"/>
                <a:gd name="T39" fmla="*/ 0 h 300"/>
                <a:gd name="T40" fmla="*/ 7 w 168"/>
                <a:gd name="T41" fmla="*/ 1 h 300"/>
                <a:gd name="T42" fmla="*/ 4 w 168"/>
                <a:gd name="T43" fmla="*/ 4 h 300"/>
                <a:gd name="T44" fmla="*/ 1 w 168"/>
                <a:gd name="T45" fmla="*/ 7 h 300"/>
                <a:gd name="T46" fmla="*/ 0 w 168"/>
                <a:gd name="T47" fmla="*/ 11 h 300"/>
                <a:gd name="T48" fmla="*/ 0 w 168"/>
                <a:gd name="T49" fmla="*/ 108 h 300"/>
                <a:gd name="T50" fmla="*/ 1 w 168"/>
                <a:gd name="T51" fmla="*/ 113 h 300"/>
                <a:gd name="T52" fmla="*/ 4 w 168"/>
                <a:gd name="T53" fmla="*/ 117 h 300"/>
                <a:gd name="T54" fmla="*/ 7 w 168"/>
                <a:gd name="T55" fmla="*/ 119 h 300"/>
                <a:gd name="T56" fmla="*/ 11 w 168"/>
                <a:gd name="T57" fmla="*/ 1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8" h="300">
                  <a:moveTo>
                    <a:pt x="11" y="120"/>
                  </a:moveTo>
                  <a:lnTo>
                    <a:pt x="119" y="120"/>
                  </a:lnTo>
                  <a:lnTo>
                    <a:pt x="144" y="120"/>
                  </a:lnTo>
                  <a:lnTo>
                    <a:pt x="144" y="289"/>
                  </a:lnTo>
                  <a:lnTo>
                    <a:pt x="145" y="293"/>
                  </a:lnTo>
                  <a:lnTo>
                    <a:pt x="147" y="296"/>
                  </a:lnTo>
                  <a:lnTo>
                    <a:pt x="151" y="299"/>
                  </a:lnTo>
                  <a:lnTo>
                    <a:pt x="155" y="300"/>
                  </a:lnTo>
                  <a:lnTo>
                    <a:pt x="160" y="299"/>
                  </a:lnTo>
                  <a:lnTo>
                    <a:pt x="164" y="296"/>
                  </a:lnTo>
                  <a:lnTo>
                    <a:pt x="167" y="293"/>
                  </a:lnTo>
                  <a:lnTo>
                    <a:pt x="168" y="289"/>
                  </a:lnTo>
                  <a:lnTo>
                    <a:pt x="168" y="108"/>
                  </a:lnTo>
                  <a:lnTo>
                    <a:pt x="168" y="11"/>
                  </a:lnTo>
                  <a:lnTo>
                    <a:pt x="167" y="7"/>
                  </a:lnTo>
                  <a:lnTo>
                    <a:pt x="164" y="4"/>
                  </a:lnTo>
                  <a:lnTo>
                    <a:pt x="160" y="1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08"/>
                  </a:lnTo>
                  <a:lnTo>
                    <a:pt x="1" y="113"/>
                  </a:lnTo>
                  <a:lnTo>
                    <a:pt x="4" y="117"/>
                  </a:lnTo>
                  <a:lnTo>
                    <a:pt x="7" y="119"/>
                  </a:lnTo>
                  <a:lnTo>
                    <a:pt x="11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8274635" y="3445027"/>
            <a:ext cx="280988" cy="282575"/>
            <a:chOff x="2025650" y="5957888"/>
            <a:chExt cx="280988" cy="282575"/>
          </a:xfrm>
          <a:solidFill>
            <a:schemeClr val="accent1"/>
          </a:solidFill>
        </p:grpSpPr>
        <p:sp>
          <p:nvSpPr>
            <p:cNvPr id="108" name="Freeform 1151"/>
            <p:cNvSpPr>
              <a:spLocks noEditPoints="1"/>
            </p:cNvSpPr>
            <p:nvPr/>
          </p:nvSpPr>
          <p:spPr bwMode="auto">
            <a:xfrm>
              <a:off x="2025650" y="5957888"/>
              <a:ext cx="247650" cy="219075"/>
            </a:xfrm>
            <a:custGeom>
              <a:avLst/>
              <a:gdLst>
                <a:gd name="T0" fmla="*/ 97 w 627"/>
                <a:gd name="T1" fmla="*/ 494 h 554"/>
                <a:gd name="T2" fmla="*/ 93 w 627"/>
                <a:gd name="T3" fmla="*/ 507 h 554"/>
                <a:gd name="T4" fmla="*/ 85 w 627"/>
                <a:gd name="T5" fmla="*/ 518 h 554"/>
                <a:gd name="T6" fmla="*/ 74 w 627"/>
                <a:gd name="T7" fmla="*/ 527 h 554"/>
                <a:gd name="T8" fmla="*/ 61 w 627"/>
                <a:gd name="T9" fmla="*/ 530 h 554"/>
                <a:gd name="T10" fmla="*/ 47 w 627"/>
                <a:gd name="T11" fmla="*/ 527 h 554"/>
                <a:gd name="T12" fmla="*/ 35 w 627"/>
                <a:gd name="T13" fmla="*/ 519 h 554"/>
                <a:gd name="T14" fmla="*/ 27 w 627"/>
                <a:gd name="T15" fmla="*/ 508 h 554"/>
                <a:gd name="T16" fmla="*/ 24 w 627"/>
                <a:gd name="T17" fmla="*/ 494 h 554"/>
                <a:gd name="T18" fmla="*/ 144 w 627"/>
                <a:gd name="T19" fmla="*/ 24 h 554"/>
                <a:gd name="T20" fmla="*/ 145 w 627"/>
                <a:gd name="T21" fmla="*/ 90 h 554"/>
                <a:gd name="T22" fmla="*/ 152 w 627"/>
                <a:gd name="T23" fmla="*/ 96 h 554"/>
                <a:gd name="T24" fmla="*/ 554 w 627"/>
                <a:gd name="T25" fmla="*/ 97 h 554"/>
                <a:gd name="T26" fmla="*/ 109 w 627"/>
                <a:gd name="T27" fmla="*/ 145 h 554"/>
                <a:gd name="T28" fmla="*/ 100 w 627"/>
                <a:gd name="T29" fmla="*/ 149 h 554"/>
                <a:gd name="T30" fmla="*/ 97 w 627"/>
                <a:gd name="T31" fmla="*/ 157 h 554"/>
                <a:gd name="T32" fmla="*/ 383 w 627"/>
                <a:gd name="T33" fmla="*/ 531 h 554"/>
                <a:gd name="T34" fmla="*/ 356 w 627"/>
                <a:gd name="T35" fmla="*/ 504 h 554"/>
                <a:gd name="T36" fmla="*/ 351 w 627"/>
                <a:gd name="T37" fmla="*/ 501 h 554"/>
                <a:gd name="T38" fmla="*/ 349 w 627"/>
                <a:gd name="T39" fmla="*/ 497 h 554"/>
                <a:gd name="T40" fmla="*/ 351 w 627"/>
                <a:gd name="T41" fmla="*/ 488 h 554"/>
                <a:gd name="T42" fmla="*/ 403 w 627"/>
                <a:gd name="T43" fmla="*/ 398 h 554"/>
                <a:gd name="T44" fmla="*/ 413 w 627"/>
                <a:gd name="T45" fmla="*/ 396 h 554"/>
                <a:gd name="T46" fmla="*/ 446 w 627"/>
                <a:gd name="T47" fmla="*/ 414 h 554"/>
                <a:gd name="T48" fmla="*/ 467 w 627"/>
                <a:gd name="T49" fmla="*/ 401 h 554"/>
                <a:gd name="T50" fmla="*/ 488 w 627"/>
                <a:gd name="T51" fmla="*/ 391 h 554"/>
                <a:gd name="T52" fmla="*/ 489 w 627"/>
                <a:gd name="T53" fmla="*/ 357 h 554"/>
                <a:gd name="T54" fmla="*/ 495 w 627"/>
                <a:gd name="T55" fmla="*/ 351 h 554"/>
                <a:gd name="T56" fmla="*/ 596 w 627"/>
                <a:gd name="T57" fmla="*/ 350 h 554"/>
                <a:gd name="T58" fmla="*/ 605 w 627"/>
                <a:gd name="T59" fmla="*/ 353 h 554"/>
                <a:gd name="T60" fmla="*/ 608 w 627"/>
                <a:gd name="T61" fmla="*/ 362 h 554"/>
                <a:gd name="T62" fmla="*/ 618 w 627"/>
                <a:gd name="T63" fmla="*/ 396 h 554"/>
                <a:gd name="T64" fmla="*/ 627 w 627"/>
                <a:gd name="T65" fmla="*/ 157 h 554"/>
                <a:gd name="T66" fmla="*/ 623 w 627"/>
                <a:gd name="T67" fmla="*/ 149 h 554"/>
                <a:gd name="T68" fmla="*/ 615 w 627"/>
                <a:gd name="T69" fmla="*/ 145 h 554"/>
                <a:gd name="T70" fmla="*/ 578 w 627"/>
                <a:gd name="T71" fmla="*/ 85 h 554"/>
                <a:gd name="T72" fmla="*/ 575 w 627"/>
                <a:gd name="T73" fmla="*/ 76 h 554"/>
                <a:gd name="T74" fmla="*/ 567 w 627"/>
                <a:gd name="T75" fmla="*/ 72 h 554"/>
                <a:gd name="T76" fmla="*/ 169 w 627"/>
                <a:gd name="T77" fmla="*/ 12 h 554"/>
                <a:gd name="T78" fmla="*/ 165 w 627"/>
                <a:gd name="T79" fmla="*/ 4 h 554"/>
                <a:gd name="T80" fmla="*/ 157 w 627"/>
                <a:gd name="T81" fmla="*/ 0 h 554"/>
                <a:gd name="T82" fmla="*/ 8 w 627"/>
                <a:gd name="T83" fmla="*/ 1 h 554"/>
                <a:gd name="T84" fmla="*/ 1 w 627"/>
                <a:gd name="T85" fmla="*/ 8 h 554"/>
                <a:gd name="T86" fmla="*/ 0 w 627"/>
                <a:gd name="T87" fmla="*/ 494 h 554"/>
                <a:gd name="T88" fmla="*/ 2 w 627"/>
                <a:gd name="T89" fmla="*/ 506 h 554"/>
                <a:gd name="T90" fmla="*/ 5 w 627"/>
                <a:gd name="T91" fmla="*/ 517 h 554"/>
                <a:gd name="T92" fmla="*/ 11 w 627"/>
                <a:gd name="T93" fmla="*/ 527 h 554"/>
                <a:gd name="T94" fmla="*/ 18 w 627"/>
                <a:gd name="T95" fmla="*/ 536 h 554"/>
                <a:gd name="T96" fmla="*/ 27 w 627"/>
                <a:gd name="T97" fmla="*/ 544 h 554"/>
                <a:gd name="T98" fmla="*/ 37 w 627"/>
                <a:gd name="T99" fmla="*/ 550 h 554"/>
                <a:gd name="T100" fmla="*/ 49 w 627"/>
                <a:gd name="T101" fmla="*/ 553 h 554"/>
                <a:gd name="T102" fmla="*/ 61 w 627"/>
                <a:gd name="T103" fmla="*/ 554 h 554"/>
                <a:gd name="T104" fmla="*/ 383 w 627"/>
                <a:gd name="T105" fmla="*/ 548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7" h="554">
                  <a:moveTo>
                    <a:pt x="97" y="157"/>
                  </a:moveTo>
                  <a:lnTo>
                    <a:pt x="97" y="494"/>
                  </a:lnTo>
                  <a:lnTo>
                    <a:pt x="96" y="501"/>
                  </a:lnTo>
                  <a:lnTo>
                    <a:pt x="93" y="507"/>
                  </a:lnTo>
                  <a:lnTo>
                    <a:pt x="90" y="513"/>
                  </a:lnTo>
                  <a:lnTo>
                    <a:pt x="85" y="518"/>
                  </a:lnTo>
                  <a:lnTo>
                    <a:pt x="80" y="523"/>
                  </a:lnTo>
                  <a:lnTo>
                    <a:pt x="74" y="527"/>
                  </a:lnTo>
                  <a:lnTo>
                    <a:pt x="67" y="529"/>
                  </a:lnTo>
                  <a:lnTo>
                    <a:pt x="61" y="530"/>
                  </a:lnTo>
                  <a:lnTo>
                    <a:pt x="54" y="529"/>
                  </a:lnTo>
                  <a:lnTo>
                    <a:pt x="47" y="527"/>
                  </a:lnTo>
                  <a:lnTo>
                    <a:pt x="40" y="524"/>
                  </a:lnTo>
                  <a:lnTo>
                    <a:pt x="35" y="519"/>
                  </a:lnTo>
                  <a:lnTo>
                    <a:pt x="30" y="514"/>
                  </a:lnTo>
                  <a:lnTo>
                    <a:pt x="27" y="508"/>
                  </a:lnTo>
                  <a:lnTo>
                    <a:pt x="25" y="501"/>
                  </a:lnTo>
                  <a:lnTo>
                    <a:pt x="24" y="494"/>
                  </a:lnTo>
                  <a:lnTo>
                    <a:pt x="24" y="24"/>
                  </a:lnTo>
                  <a:lnTo>
                    <a:pt x="144" y="24"/>
                  </a:lnTo>
                  <a:lnTo>
                    <a:pt x="144" y="85"/>
                  </a:lnTo>
                  <a:lnTo>
                    <a:pt x="145" y="90"/>
                  </a:lnTo>
                  <a:lnTo>
                    <a:pt x="149" y="93"/>
                  </a:lnTo>
                  <a:lnTo>
                    <a:pt x="152" y="96"/>
                  </a:lnTo>
                  <a:lnTo>
                    <a:pt x="157" y="97"/>
                  </a:lnTo>
                  <a:lnTo>
                    <a:pt x="554" y="97"/>
                  </a:lnTo>
                  <a:lnTo>
                    <a:pt x="554" y="145"/>
                  </a:lnTo>
                  <a:lnTo>
                    <a:pt x="109" y="145"/>
                  </a:lnTo>
                  <a:lnTo>
                    <a:pt x="104" y="146"/>
                  </a:lnTo>
                  <a:lnTo>
                    <a:pt x="100" y="149"/>
                  </a:lnTo>
                  <a:lnTo>
                    <a:pt x="98" y="152"/>
                  </a:lnTo>
                  <a:lnTo>
                    <a:pt x="97" y="157"/>
                  </a:lnTo>
                  <a:close/>
                  <a:moveTo>
                    <a:pt x="383" y="540"/>
                  </a:moveTo>
                  <a:lnTo>
                    <a:pt x="383" y="531"/>
                  </a:lnTo>
                  <a:lnTo>
                    <a:pt x="384" y="520"/>
                  </a:lnTo>
                  <a:lnTo>
                    <a:pt x="356" y="504"/>
                  </a:lnTo>
                  <a:lnTo>
                    <a:pt x="354" y="503"/>
                  </a:lnTo>
                  <a:lnTo>
                    <a:pt x="351" y="501"/>
                  </a:lnTo>
                  <a:lnTo>
                    <a:pt x="350" y="499"/>
                  </a:lnTo>
                  <a:lnTo>
                    <a:pt x="349" y="497"/>
                  </a:lnTo>
                  <a:lnTo>
                    <a:pt x="349" y="493"/>
                  </a:lnTo>
                  <a:lnTo>
                    <a:pt x="351" y="488"/>
                  </a:lnTo>
                  <a:lnTo>
                    <a:pt x="400" y="401"/>
                  </a:lnTo>
                  <a:lnTo>
                    <a:pt x="403" y="398"/>
                  </a:lnTo>
                  <a:lnTo>
                    <a:pt x="408" y="397"/>
                  </a:lnTo>
                  <a:lnTo>
                    <a:pt x="413" y="396"/>
                  </a:lnTo>
                  <a:lnTo>
                    <a:pt x="417" y="398"/>
                  </a:lnTo>
                  <a:lnTo>
                    <a:pt x="446" y="414"/>
                  </a:lnTo>
                  <a:lnTo>
                    <a:pt x="456" y="407"/>
                  </a:lnTo>
                  <a:lnTo>
                    <a:pt x="467" y="401"/>
                  </a:lnTo>
                  <a:lnTo>
                    <a:pt x="478" y="395"/>
                  </a:lnTo>
                  <a:lnTo>
                    <a:pt x="488" y="391"/>
                  </a:lnTo>
                  <a:lnTo>
                    <a:pt x="488" y="361"/>
                  </a:lnTo>
                  <a:lnTo>
                    <a:pt x="489" y="357"/>
                  </a:lnTo>
                  <a:lnTo>
                    <a:pt x="492" y="353"/>
                  </a:lnTo>
                  <a:lnTo>
                    <a:pt x="495" y="351"/>
                  </a:lnTo>
                  <a:lnTo>
                    <a:pt x="500" y="350"/>
                  </a:lnTo>
                  <a:lnTo>
                    <a:pt x="596" y="350"/>
                  </a:lnTo>
                  <a:lnTo>
                    <a:pt x="601" y="351"/>
                  </a:lnTo>
                  <a:lnTo>
                    <a:pt x="605" y="353"/>
                  </a:lnTo>
                  <a:lnTo>
                    <a:pt x="607" y="357"/>
                  </a:lnTo>
                  <a:lnTo>
                    <a:pt x="608" y="362"/>
                  </a:lnTo>
                  <a:lnTo>
                    <a:pt x="608" y="391"/>
                  </a:lnTo>
                  <a:lnTo>
                    <a:pt x="618" y="396"/>
                  </a:lnTo>
                  <a:lnTo>
                    <a:pt x="627" y="401"/>
                  </a:lnTo>
                  <a:lnTo>
                    <a:pt x="627" y="157"/>
                  </a:lnTo>
                  <a:lnTo>
                    <a:pt x="626" y="152"/>
                  </a:lnTo>
                  <a:lnTo>
                    <a:pt x="623" y="149"/>
                  </a:lnTo>
                  <a:lnTo>
                    <a:pt x="619" y="146"/>
                  </a:lnTo>
                  <a:lnTo>
                    <a:pt x="615" y="145"/>
                  </a:lnTo>
                  <a:lnTo>
                    <a:pt x="578" y="145"/>
                  </a:lnTo>
                  <a:lnTo>
                    <a:pt x="578" y="85"/>
                  </a:lnTo>
                  <a:lnTo>
                    <a:pt x="577" y="81"/>
                  </a:lnTo>
                  <a:lnTo>
                    <a:pt x="575" y="76"/>
                  </a:lnTo>
                  <a:lnTo>
                    <a:pt x="571" y="73"/>
                  </a:lnTo>
                  <a:lnTo>
                    <a:pt x="567" y="72"/>
                  </a:lnTo>
                  <a:lnTo>
                    <a:pt x="169" y="72"/>
                  </a:lnTo>
                  <a:lnTo>
                    <a:pt x="169" y="12"/>
                  </a:lnTo>
                  <a:lnTo>
                    <a:pt x="168" y="8"/>
                  </a:lnTo>
                  <a:lnTo>
                    <a:pt x="165" y="4"/>
                  </a:lnTo>
                  <a:lnTo>
                    <a:pt x="162" y="1"/>
                  </a:lnTo>
                  <a:lnTo>
                    <a:pt x="15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494"/>
                  </a:lnTo>
                  <a:lnTo>
                    <a:pt x="1" y="500"/>
                  </a:lnTo>
                  <a:lnTo>
                    <a:pt x="2" y="506"/>
                  </a:lnTo>
                  <a:lnTo>
                    <a:pt x="3" y="512"/>
                  </a:lnTo>
                  <a:lnTo>
                    <a:pt x="5" y="517"/>
                  </a:lnTo>
                  <a:lnTo>
                    <a:pt x="8" y="522"/>
                  </a:lnTo>
                  <a:lnTo>
                    <a:pt x="11" y="527"/>
                  </a:lnTo>
                  <a:lnTo>
                    <a:pt x="14" y="532"/>
                  </a:lnTo>
                  <a:lnTo>
                    <a:pt x="18" y="536"/>
                  </a:lnTo>
                  <a:lnTo>
                    <a:pt x="22" y="540"/>
                  </a:lnTo>
                  <a:lnTo>
                    <a:pt x="27" y="544"/>
                  </a:lnTo>
                  <a:lnTo>
                    <a:pt x="32" y="547"/>
                  </a:lnTo>
                  <a:lnTo>
                    <a:pt x="37" y="550"/>
                  </a:lnTo>
                  <a:lnTo>
                    <a:pt x="43" y="552"/>
                  </a:lnTo>
                  <a:lnTo>
                    <a:pt x="49" y="553"/>
                  </a:lnTo>
                  <a:lnTo>
                    <a:pt x="55" y="554"/>
                  </a:lnTo>
                  <a:lnTo>
                    <a:pt x="61" y="554"/>
                  </a:lnTo>
                  <a:lnTo>
                    <a:pt x="383" y="554"/>
                  </a:lnTo>
                  <a:lnTo>
                    <a:pt x="383" y="548"/>
                  </a:lnTo>
                  <a:lnTo>
                    <a:pt x="383" y="5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9" name="Freeform 1152"/>
            <p:cNvSpPr>
              <a:spLocks noEditPoints="1"/>
            </p:cNvSpPr>
            <p:nvPr/>
          </p:nvSpPr>
          <p:spPr bwMode="auto">
            <a:xfrm>
              <a:off x="2174875" y="6105525"/>
              <a:ext cx="131763" cy="134938"/>
            </a:xfrm>
            <a:custGeom>
              <a:avLst/>
              <a:gdLst>
                <a:gd name="T0" fmla="*/ 150 w 331"/>
                <a:gd name="T1" fmla="*/ 245 h 338"/>
                <a:gd name="T2" fmla="*/ 128 w 331"/>
                <a:gd name="T3" fmla="*/ 237 h 338"/>
                <a:gd name="T4" fmla="*/ 110 w 331"/>
                <a:gd name="T5" fmla="*/ 224 h 338"/>
                <a:gd name="T6" fmla="*/ 97 w 331"/>
                <a:gd name="T7" fmla="*/ 205 h 338"/>
                <a:gd name="T8" fmla="*/ 89 w 331"/>
                <a:gd name="T9" fmla="*/ 184 h 338"/>
                <a:gd name="T10" fmla="*/ 88 w 331"/>
                <a:gd name="T11" fmla="*/ 160 h 338"/>
                <a:gd name="T12" fmla="*/ 94 w 331"/>
                <a:gd name="T13" fmla="*/ 138 h 338"/>
                <a:gd name="T14" fmla="*/ 105 w 331"/>
                <a:gd name="T15" fmla="*/ 120 h 338"/>
                <a:gd name="T16" fmla="*/ 122 w 331"/>
                <a:gd name="T17" fmla="*/ 104 h 338"/>
                <a:gd name="T18" fmla="*/ 143 w 331"/>
                <a:gd name="T19" fmla="*/ 94 h 338"/>
                <a:gd name="T20" fmla="*/ 165 w 331"/>
                <a:gd name="T21" fmla="*/ 91 h 338"/>
                <a:gd name="T22" fmla="*/ 189 w 331"/>
                <a:gd name="T23" fmla="*/ 94 h 338"/>
                <a:gd name="T24" fmla="*/ 209 w 331"/>
                <a:gd name="T25" fmla="*/ 104 h 338"/>
                <a:gd name="T26" fmla="*/ 226 w 331"/>
                <a:gd name="T27" fmla="*/ 120 h 338"/>
                <a:gd name="T28" fmla="*/ 238 w 331"/>
                <a:gd name="T29" fmla="*/ 138 h 338"/>
                <a:gd name="T30" fmla="*/ 244 w 331"/>
                <a:gd name="T31" fmla="*/ 160 h 338"/>
                <a:gd name="T32" fmla="*/ 242 w 331"/>
                <a:gd name="T33" fmla="*/ 184 h 338"/>
                <a:gd name="T34" fmla="*/ 235 w 331"/>
                <a:gd name="T35" fmla="*/ 205 h 338"/>
                <a:gd name="T36" fmla="*/ 221 w 331"/>
                <a:gd name="T37" fmla="*/ 224 h 338"/>
                <a:gd name="T38" fmla="*/ 203 w 331"/>
                <a:gd name="T39" fmla="*/ 237 h 338"/>
                <a:gd name="T40" fmla="*/ 181 w 331"/>
                <a:gd name="T41" fmla="*/ 245 h 338"/>
                <a:gd name="T42" fmla="*/ 306 w 331"/>
                <a:gd name="T43" fmla="*/ 206 h 338"/>
                <a:gd name="T44" fmla="*/ 300 w 331"/>
                <a:gd name="T45" fmla="*/ 197 h 338"/>
                <a:gd name="T46" fmla="*/ 302 w 331"/>
                <a:gd name="T47" fmla="*/ 167 h 338"/>
                <a:gd name="T48" fmla="*/ 300 w 331"/>
                <a:gd name="T49" fmla="*/ 140 h 338"/>
                <a:gd name="T50" fmla="*/ 306 w 331"/>
                <a:gd name="T51" fmla="*/ 131 h 338"/>
                <a:gd name="T52" fmla="*/ 268 w 331"/>
                <a:gd name="T53" fmla="*/ 66 h 338"/>
                <a:gd name="T54" fmla="*/ 258 w 331"/>
                <a:gd name="T55" fmla="*/ 67 h 338"/>
                <a:gd name="T56" fmla="*/ 242 w 331"/>
                <a:gd name="T57" fmla="*/ 53 h 338"/>
                <a:gd name="T58" fmla="*/ 214 w 331"/>
                <a:gd name="T59" fmla="*/ 37 h 338"/>
                <a:gd name="T60" fmla="*/ 207 w 331"/>
                <a:gd name="T61" fmla="*/ 29 h 338"/>
                <a:gd name="T62" fmla="*/ 135 w 331"/>
                <a:gd name="T63" fmla="*/ 0 h 338"/>
                <a:gd name="T64" fmla="*/ 133 w 331"/>
                <a:gd name="T65" fmla="*/ 32 h 338"/>
                <a:gd name="T66" fmla="*/ 113 w 331"/>
                <a:gd name="T67" fmla="*/ 42 h 338"/>
                <a:gd name="T68" fmla="*/ 77 w 331"/>
                <a:gd name="T69" fmla="*/ 64 h 338"/>
                <a:gd name="T70" fmla="*/ 66 w 331"/>
                <a:gd name="T71" fmla="*/ 67 h 338"/>
                <a:gd name="T72" fmla="*/ 0 w 331"/>
                <a:gd name="T73" fmla="*/ 116 h 338"/>
                <a:gd name="T74" fmla="*/ 31 w 331"/>
                <a:gd name="T75" fmla="*/ 136 h 338"/>
                <a:gd name="T76" fmla="*/ 30 w 331"/>
                <a:gd name="T77" fmla="*/ 156 h 338"/>
                <a:gd name="T78" fmla="*/ 32 w 331"/>
                <a:gd name="T79" fmla="*/ 193 h 338"/>
                <a:gd name="T80" fmla="*/ 29 w 331"/>
                <a:gd name="T81" fmla="*/ 204 h 338"/>
                <a:gd name="T82" fmla="*/ 38 w 331"/>
                <a:gd name="T83" fmla="*/ 286 h 338"/>
                <a:gd name="T84" fmla="*/ 70 w 331"/>
                <a:gd name="T85" fmla="*/ 269 h 338"/>
                <a:gd name="T86" fmla="*/ 89 w 331"/>
                <a:gd name="T87" fmla="*/ 281 h 338"/>
                <a:gd name="T88" fmla="*/ 139 w 331"/>
                <a:gd name="T89" fmla="*/ 303 h 338"/>
                <a:gd name="T90" fmla="*/ 146 w 331"/>
                <a:gd name="T91" fmla="*/ 310 h 338"/>
                <a:gd name="T92" fmla="*/ 207 w 331"/>
                <a:gd name="T93" fmla="*/ 338 h 338"/>
                <a:gd name="T94" fmla="*/ 209 w 331"/>
                <a:gd name="T95" fmla="*/ 307 h 338"/>
                <a:gd name="T96" fmla="*/ 222 w 331"/>
                <a:gd name="T97" fmla="*/ 299 h 338"/>
                <a:gd name="T98" fmla="*/ 245 w 331"/>
                <a:gd name="T99" fmla="*/ 281 h 338"/>
                <a:gd name="T100" fmla="*/ 258 w 331"/>
                <a:gd name="T101" fmla="*/ 270 h 338"/>
                <a:gd name="T102" fmla="*/ 268 w 331"/>
                <a:gd name="T103" fmla="*/ 271 h 338"/>
                <a:gd name="T104" fmla="*/ 306 w 331"/>
                <a:gd name="T105" fmla="*/ 20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1" h="338">
                  <a:moveTo>
                    <a:pt x="165" y="246"/>
                  </a:moveTo>
                  <a:lnTo>
                    <a:pt x="158" y="246"/>
                  </a:lnTo>
                  <a:lnTo>
                    <a:pt x="150" y="245"/>
                  </a:lnTo>
                  <a:lnTo>
                    <a:pt x="143" y="243"/>
                  </a:lnTo>
                  <a:lnTo>
                    <a:pt x="136" y="240"/>
                  </a:lnTo>
                  <a:lnTo>
                    <a:pt x="128" y="237"/>
                  </a:lnTo>
                  <a:lnTo>
                    <a:pt x="122" y="233"/>
                  </a:lnTo>
                  <a:lnTo>
                    <a:pt x="116" y="229"/>
                  </a:lnTo>
                  <a:lnTo>
                    <a:pt x="110" y="224"/>
                  </a:lnTo>
                  <a:lnTo>
                    <a:pt x="105" y="217"/>
                  </a:lnTo>
                  <a:lnTo>
                    <a:pt x="101" y="211"/>
                  </a:lnTo>
                  <a:lnTo>
                    <a:pt x="97" y="205"/>
                  </a:lnTo>
                  <a:lnTo>
                    <a:pt x="94" y="198"/>
                  </a:lnTo>
                  <a:lnTo>
                    <a:pt x="91" y="191"/>
                  </a:lnTo>
                  <a:lnTo>
                    <a:pt x="89" y="184"/>
                  </a:lnTo>
                  <a:lnTo>
                    <a:pt x="88" y="176"/>
                  </a:lnTo>
                  <a:lnTo>
                    <a:pt x="88" y="167"/>
                  </a:lnTo>
                  <a:lnTo>
                    <a:pt x="88" y="160"/>
                  </a:lnTo>
                  <a:lnTo>
                    <a:pt x="89" y="152"/>
                  </a:lnTo>
                  <a:lnTo>
                    <a:pt x="91" y="145"/>
                  </a:lnTo>
                  <a:lnTo>
                    <a:pt x="94" y="138"/>
                  </a:lnTo>
                  <a:lnTo>
                    <a:pt x="97" y="132"/>
                  </a:lnTo>
                  <a:lnTo>
                    <a:pt x="101" y="125"/>
                  </a:lnTo>
                  <a:lnTo>
                    <a:pt x="105" y="120"/>
                  </a:lnTo>
                  <a:lnTo>
                    <a:pt x="110" y="113"/>
                  </a:lnTo>
                  <a:lnTo>
                    <a:pt x="116" y="108"/>
                  </a:lnTo>
                  <a:lnTo>
                    <a:pt x="122" y="104"/>
                  </a:lnTo>
                  <a:lnTo>
                    <a:pt x="128" y="100"/>
                  </a:lnTo>
                  <a:lnTo>
                    <a:pt x="136" y="97"/>
                  </a:lnTo>
                  <a:lnTo>
                    <a:pt x="143" y="94"/>
                  </a:lnTo>
                  <a:lnTo>
                    <a:pt x="150" y="92"/>
                  </a:lnTo>
                  <a:lnTo>
                    <a:pt x="158" y="91"/>
                  </a:lnTo>
                  <a:lnTo>
                    <a:pt x="165" y="91"/>
                  </a:lnTo>
                  <a:lnTo>
                    <a:pt x="173" y="91"/>
                  </a:lnTo>
                  <a:lnTo>
                    <a:pt x="181" y="92"/>
                  </a:lnTo>
                  <a:lnTo>
                    <a:pt x="189" y="94"/>
                  </a:lnTo>
                  <a:lnTo>
                    <a:pt x="196" y="97"/>
                  </a:lnTo>
                  <a:lnTo>
                    <a:pt x="203" y="100"/>
                  </a:lnTo>
                  <a:lnTo>
                    <a:pt x="209" y="104"/>
                  </a:lnTo>
                  <a:lnTo>
                    <a:pt x="215" y="108"/>
                  </a:lnTo>
                  <a:lnTo>
                    <a:pt x="221" y="113"/>
                  </a:lnTo>
                  <a:lnTo>
                    <a:pt x="226" y="120"/>
                  </a:lnTo>
                  <a:lnTo>
                    <a:pt x="230" y="125"/>
                  </a:lnTo>
                  <a:lnTo>
                    <a:pt x="235" y="132"/>
                  </a:lnTo>
                  <a:lnTo>
                    <a:pt x="238" y="138"/>
                  </a:lnTo>
                  <a:lnTo>
                    <a:pt x="241" y="145"/>
                  </a:lnTo>
                  <a:lnTo>
                    <a:pt x="242" y="152"/>
                  </a:lnTo>
                  <a:lnTo>
                    <a:pt x="244" y="160"/>
                  </a:lnTo>
                  <a:lnTo>
                    <a:pt x="244" y="167"/>
                  </a:lnTo>
                  <a:lnTo>
                    <a:pt x="244" y="176"/>
                  </a:lnTo>
                  <a:lnTo>
                    <a:pt x="242" y="184"/>
                  </a:lnTo>
                  <a:lnTo>
                    <a:pt x="241" y="191"/>
                  </a:lnTo>
                  <a:lnTo>
                    <a:pt x="238" y="198"/>
                  </a:lnTo>
                  <a:lnTo>
                    <a:pt x="235" y="205"/>
                  </a:lnTo>
                  <a:lnTo>
                    <a:pt x="230" y="211"/>
                  </a:lnTo>
                  <a:lnTo>
                    <a:pt x="226" y="217"/>
                  </a:lnTo>
                  <a:lnTo>
                    <a:pt x="221" y="224"/>
                  </a:lnTo>
                  <a:lnTo>
                    <a:pt x="215" y="229"/>
                  </a:lnTo>
                  <a:lnTo>
                    <a:pt x="209" y="233"/>
                  </a:lnTo>
                  <a:lnTo>
                    <a:pt x="203" y="237"/>
                  </a:lnTo>
                  <a:lnTo>
                    <a:pt x="196" y="240"/>
                  </a:lnTo>
                  <a:lnTo>
                    <a:pt x="189" y="243"/>
                  </a:lnTo>
                  <a:lnTo>
                    <a:pt x="181" y="245"/>
                  </a:lnTo>
                  <a:lnTo>
                    <a:pt x="173" y="246"/>
                  </a:lnTo>
                  <a:lnTo>
                    <a:pt x="165" y="246"/>
                  </a:lnTo>
                  <a:close/>
                  <a:moveTo>
                    <a:pt x="306" y="206"/>
                  </a:moveTo>
                  <a:lnTo>
                    <a:pt x="303" y="204"/>
                  </a:lnTo>
                  <a:lnTo>
                    <a:pt x="301" y="201"/>
                  </a:lnTo>
                  <a:lnTo>
                    <a:pt x="300" y="197"/>
                  </a:lnTo>
                  <a:lnTo>
                    <a:pt x="300" y="193"/>
                  </a:lnTo>
                  <a:lnTo>
                    <a:pt x="302" y="181"/>
                  </a:lnTo>
                  <a:lnTo>
                    <a:pt x="302" y="167"/>
                  </a:lnTo>
                  <a:lnTo>
                    <a:pt x="302" y="156"/>
                  </a:lnTo>
                  <a:lnTo>
                    <a:pt x="300" y="144"/>
                  </a:lnTo>
                  <a:lnTo>
                    <a:pt x="300" y="140"/>
                  </a:lnTo>
                  <a:lnTo>
                    <a:pt x="301" y="136"/>
                  </a:lnTo>
                  <a:lnTo>
                    <a:pt x="303" y="133"/>
                  </a:lnTo>
                  <a:lnTo>
                    <a:pt x="306" y="131"/>
                  </a:lnTo>
                  <a:lnTo>
                    <a:pt x="331" y="116"/>
                  </a:lnTo>
                  <a:lnTo>
                    <a:pt x="294" y="51"/>
                  </a:lnTo>
                  <a:lnTo>
                    <a:pt x="268" y="66"/>
                  </a:lnTo>
                  <a:lnTo>
                    <a:pt x="265" y="67"/>
                  </a:lnTo>
                  <a:lnTo>
                    <a:pt x="261" y="68"/>
                  </a:lnTo>
                  <a:lnTo>
                    <a:pt x="258" y="67"/>
                  </a:lnTo>
                  <a:lnTo>
                    <a:pt x="255" y="64"/>
                  </a:lnTo>
                  <a:lnTo>
                    <a:pt x="251" y="60"/>
                  </a:lnTo>
                  <a:lnTo>
                    <a:pt x="242" y="53"/>
                  </a:lnTo>
                  <a:lnTo>
                    <a:pt x="232" y="47"/>
                  </a:lnTo>
                  <a:lnTo>
                    <a:pt x="223" y="41"/>
                  </a:lnTo>
                  <a:lnTo>
                    <a:pt x="214" y="37"/>
                  </a:lnTo>
                  <a:lnTo>
                    <a:pt x="211" y="35"/>
                  </a:lnTo>
                  <a:lnTo>
                    <a:pt x="209" y="32"/>
                  </a:lnTo>
                  <a:lnTo>
                    <a:pt x="207" y="29"/>
                  </a:lnTo>
                  <a:lnTo>
                    <a:pt x="207" y="25"/>
                  </a:lnTo>
                  <a:lnTo>
                    <a:pt x="207" y="0"/>
                  </a:lnTo>
                  <a:lnTo>
                    <a:pt x="135" y="0"/>
                  </a:lnTo>
                  <a:lnTo>
                    <a:pt x="135" y="25"/>
                  </a:lnTo>
                  <a:lnTo>
                    <a:pt x="134" y="29"/>
                  </a:lnTo>
                  <a:lnTo>
                    <a:pt x="133" y="32"/>
                  </a:lnTo>
                  <a:lnTo>
                    <a:pt x="129" y="35"/>
                  </a:lnTo>
                  <a:lnTo>
                    <a:pt x="126" y="37"/>
                  </a:lnTo>
                  <a:lnTo>
                    <a:pt x="113" y="42"/>
                  </a:lnTo>
                  <a:lnTo>
                    <a:pt x="100" y="49"/>
                  </a:lnTo>
                  <a:lnTo>
                    <a:pt x="88" y="57"/>
                  </a:lnTo>
                  <a:lnTo>
                    <a:pt x="77" y="64"/>
                  </a:lnTo>
                  <a:lnTo>
                    <a:pt x="74" y="67"/>
                  </a:lnTo>
                  <a:lnTo>
                    <a:pt x="70" y="68"/>
                  </a:lnTo>
                  <a:lnTo>
                    <a:pt x="66" y="67"/>
                  </a:lnTo>
                  <a:lnTo>
                    <a:pt x="63" y="66"/>
                  </a:lnTo>
                  <a:lnTo>
                    <a:pt x="38" y="51"/>
                  </a:lnTo>
                  <a:lnTo>
                    <a:pt x="0" y="116"/>
                  </a:lnTo>
                  <a:lnTo>
                    <a:pt x="25" y="131"/>
                  </a:lnTo>
                  <a:lnTo>
                    <a:pt x="29" y="133"/>
                  </a:lnTo>
                  <a:lnTo>
                    <a:pt x="31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30" y="156"/>
                  </a:lnTo>
                  <a:lnTo>
                    <a:pt x="29" y="167"/>
                  </a:lnTo>
                  <a:lnTo>
                    <a:pt x="30" y="181"/>
                  </a:lnTo>
                  <a:lnTo>
                    <a:pt x="32" y="193"/>
                  </a:lnTo>
                  <a:lnTo>
                    <a:pt x="32" y="197"/>
                  </a:lnTo>
                  <a:lnTo>
                    <a:pt x="31" y="201"/>
                  </a:lnTo>
                  <a:lnTo>
                    <a:pt x="29" y="204"/>
                  </a:lnTo>
                  <a:lnTo>
                    <a:pt x="25" y="206"/>
                  </a:lnTo>
                  <a:lnTo>
                    <a:pt x="0" y="221"/>
                  </a:lnTo>
                  <a:lnTo>
                    <a:pt x="38" y="286"/>
                  </a:lnTo>
                  <a:lnTo>
                    <a:pt x="63" y="271"/>
                  </a:lnTo>
                  <a:lnTo>
                    <a:pt x="66" y="269"/>
                  </a:lnTo>
                  <a:lnTo>
                    <a:pt x="70" y="269"/>
                  </a:lnTo>
                  <a:lnTo>
                    <a:pt x="74" y="270"/>
                  </a:lnTo>
                  <a:lnTo>
                    <a:pt x="77" y="273"/>
                  </a:lnTo>
                  <a:lnTo>
                    <a:pt x="89" y="281"/>
                  </a:lnTo>
                  <a:lnTo>
                    <a:pt x="105" y="289"/>
                  </a:lnTo>
                  <a:lnTo>
                    <a:pt x="122" y="296"/>
                  </a:lnTo>
                  <a:lnTo>
                    <a:pt x="139" y="303"/>
                  </a:lnTo>
                  <a:lnTo>
                    <a:pt x="142" y="304"/>
                  </a:lnTo>
                  <a:lnTo>
                    <a:pt x="144" y="307"/>
                  </a:lnTo>
                  <a:lnTo>
                    <a:pt x="146" y="310"/>
                  </a:lnTo>
                  <a:lnTo>
                    <a:pt x="147" y="313"/>
                  </a:lnTo>
                  <a:lnTo>
                    <a:pt x="147" y="338"/>
                  </a:lnTo>
                  <a:lnTo>
                    <a:pt x="207" y="338"/>
                  </a:lnTo>
                  <a:lnTo>
                    <a:pt x="207" y="313"/>
                  </a:lnTo>
                  <a:lnTo>
                    <a:pt x="207" y="310"/>
                  </a:lnTo>
                  <a:lnTo>
                    <a:pt x="209" y="307"/>
                  </a:lnTo>
                  <a:lnTo>
                    <a:pt x="211" y="304"/>
                  </a:lnTo>
                  <a:lnTo>
                    <a:pt x="214" y="303"/>
                  </a:lnTo>
                  <a:lnTo>
                    <a:pt x="222" y="299"/>
                  </a:lnTo>
                  <a:lnTo>
                    <a:pt x="230" y="294"/>
                  </a:lnTo>
                  <a:lnTo>
                    <a:pt x="238" y="288"/>
                  </a:lnTo>
                  <a:lnTo>
                    <a:pt x="245" y="281"/>
                  </a:lnTo>
                  <a:lnTo>
                    <a:pt x="250" y="277"/>
                  </a:lnTo>
                  <a:lnTo>
                    <a:pt x="255" y="273"/>
                  </a:lnTo>
                  <a:lnTo>
                    <a:pt x="258" y="270"/>
                  </a:lnTo>
                  <a:lnTo>
                    <a:pt x="261" y="269"/>
                  </a:lnTo>
                  <a:lnTo>
                    <a:pt x="265" y="269"/>
                  </a:lnTo>
                  <a:lnTo>
                    <a:pt x="268" y="271"/>
                  </a:lnTo>
                  <a:lnTo>
                    <a:pt x="294" y="286"/>
                  </a:lnTo>
                  <a:lnTo>
                    <a:pt x="331" y="221"/>
                  </a:lnTo>
                  <a:lnTo>
                    <a:pt x="306" y="2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0" name="TextBox 109"/>
          <p:cNvSpPr txBox="1"/>
          <p:nvPr/>
        </p:nvSpPr>
        <p:spPr>
          <a:xfrm flipH="1">
            <a:off x="2455199" y="4904573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 flipH="1">
            <a:off x="1658905" y="3231398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 flipH="1">
            <a:off x="2455199" y="1585060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Freeform 677"/>
          <p:cNvSpPr>
            <a:spLocks noEditPoints="1"/>
          </p:cNvSpPr>
          <p:nvPr/>
        </p:nvSpPr>
        <p:spPr bwMode="auto">
          <a:xfrm>
            <a:off x="4420762" y="1763865"/>
            <a:ext cx="287338" cy="258763"/>
          </a:xfrm>
          <a:custGeom>
            <a:avLst/>
            <a:gdLst>
              <a:gd name="T0" fmla="*/ 117 w 903"/>
              <a:gd name="T1" fmla="*/ 361 h 813"/>
              <a:gd name="T2" fmla="*/ 109 w 903"/>
              <a:gd name="T3" fmla="*/ 357 h 813"/>
              <a:gd name="T4" fmla="*/ 105 w 903"/>
              <a:gd name="T5" fmla="*/ 349 h 813"/>
              <a:gd name="T6" fmla="*/ 106 w 903"/>
              <a:gd name="T7" fmla="*/ 340 h 813"/>
              <a:gd name="T8" fmla="*/ 111 w 903"/>
              <a:gd name="T9" fmla="*/ 333 h 813"/>
              <a:gd name="T10" fmla="*/ 120 w 903"/>
              <a:gd name="T11" fmla="*/ 331 h 813"/>
              <a:gd name="T12" fmla="*/ 773 w 903"/>
              <a:gd name="T13" fmla="*/ 332 h 813"/>
              <a:gd name="T14" fmla="*/ 780 w 903"/>
              <a:gd name="T15" fmla="*/ 337 h 813"/>
              <a:gd name="T16" fmla="*/ 783 w 903"/>
              <a:gd name="T17" fmla="*/ 346 h 813"/>
              <a:gd name="T18" fmla="*/ 780 w 903"/>
              <a:gd name="T19" fmla="*/ 355 h 813"/>
              <a:gd name="T20" fmla="*/ 773 w 903"/>
              <a:gd name="T21" fmla="*/ 360 h 813"/>
              <a:gd name="T22" fmla="*/ 768 w 903"/>
              <a:gd name="T23" fmla="*/ 511 h 813"/>
              <a:gd name="T24" fmla="*/ 115 w 903"/>
              <a:gd name="T25" fmla="*/ 510 h 813"/>
              <a:gd name="T26" fmla="*/ 108 w 903"/>
              <a:gd name="T27" fmla="*/ 505 h 813"/>
              <a:gd name="T28" fmla="*/ 105 w 903"/>
              <a:gd name="T29" fmla="*/ 496 h 813"/>
              <a:gd name="T30" fmla="*/ 108 w 903"/>
              <a:gd name="T31" fmla="*/ 488 h 813"/>
              <a:gd name="T32" fmla="*/ 115 w 903"/>
              <a:gd name="T33" fmla="*/ 482 h 813"/>
              <a:gd name="T34" fmla="*/ 768 w 903"/>
              <a:gd name="T35" fmla="*/ 481 h 813"/>
              <a:gd name="T36" fmla="*/ 776 w 903"/>
              <a:gd name="T37" fmla="*/ 484 h 813"/>
              <a:gd name="T38" fmla="*/ 782 w 903"/>
              <a:gd name="T39" fmla="*/ 491 h 813"/>
              <a:gd name="T40" fmla="*/ 782 w 903"/>
              <a:gd name="T41" fmla="*/ 499 h 813"/>
              <a:gd name="T42" fmla="*/ 779 w 903"/>
              <a:gd name="T43" fmla="*/ 507 h 813"/>
              <a:gd name="T44" fmla="*/ 771 w 903"/>
              <a:gd name="T45" fmla="*/ 511 h 813"/>
              <a:gd name="T46" fmla="*/ 120 w 903"/>
              <a:gd name="T47" fmla="*/ 661 h 813"/>
              <a:gd name="T48" fmla="*/ 111 w 903"/>
              <a:gd name="T49" fmla="*/ 659 h 813"/>
              <a:gd name="T50" fmla="*/ 106 w 903"/>
              <a:gd name="T51" fmla="*/ 653 h 813"/>
              <a:gd name="T52" fmla="*/ 105 w 903"/>
              <a:gd name="T53" fmla="*/ 644 h 813"/>
              <a:gd name="T54" fmla="*/ 109 w 903"/>
              <a:gd name="T55" fmla="*/ 637 h 813"/>
              <a:gd name="T56" fmla="*/ 117 w 903"/>
              <a:gd name="T57" fmla="*/ 632 h 813"/>
              <a:gd name="T58" fmla="*/ 771 w 903"/>
              <a:gd name="T59" fmla="*/ 632 h 813"/>
              <a:gd name="T60" fmla="*/ 779 w 903"/>
              <a:gd name="T61" fmla="*/ 637 h 813"/>
              <a:gd name="T62" fmla="*/ 782 w 903"/>
              <a:gd name="T63" fmla="*/ 644 h 813"/>
              <a:gd name="T64" fmla="*/ 782 w 903"/>
              <a:gd name="T65" fmla="*/ 653 h 813"/>
              <a:gd name="T66" fmla="*/ 776 w 903"/>
              <a:gd name="T67" fmla="*/ 659 h 813"/>
              <a:gd name="T68" fmla="*/ 768 w 903"/>
              <a:gd name="T69" fmla="*/ 662 h 813"/>
              <a:gd name="T70" fmla="*/ 572 w 903"/>
              <a:gd name="T71" fmla="*/ 90 h 813"/>
              <a:gd name="T72" fmla="*/ 331 w 903"/>
              <a:gd name="T73" fmla="*/ 90 h 813"/>
              <a:gd name="T74" fmla="*/ 602 w 903"/>
              <a:gd name="T75" fmla="*/ 90 h 813"/>
              <a:gd name="T76" fmla="*/ 602 w 903"/>
              <a:gd name="T77" fmla="*/ 23 h 813"/>
              <a:gd name="T78" fmla="*/ 593 w 903"/>
              <a:gd name="T79" fmla="*/ 8 h 813"/>
              <a:gd name="T80" fmla="*/ 578 w 903"/>
              <a:gd name="T81" fmla="*/ 1 h 813"/>
              <a:gd name="T82" fmla="*/ 325 w 903"/>
              <a:gd name="T83" fmla="*/ 1 h 813"/>
              <a:gd name="T84" fmla="*/ 310 w 903"/>
              <a:gd name="T85" fmla="*/ 8 h 813"/>
              <a:gd name="T86" fmla="*/ 301 w 903"/>
              <a:gd name="T87" fmla="*/ 23 h 813"/>
              <a:gd name="T88" fmla="*/ 301 w 903"/>
              <a:gd name="T89" fmla="*/ 90 h 813"/>
              <a:gd name="T90" fmla="*/ 36 w 903"/>
              <a:gd name="T91" fmla="*/ 151 h 813"/>
              <a:gd name="T92" fmla="*/ 13 w 903"/>
              <a:gd name="T93" fmla="*/ 164 h 813"/>
              <a:gd name="T94" fmla="*/ 1 w 903"/>
              <a:gd name="T95" fmla="*/ 186 h 813"/>
              <a:gd name="T96" fmla="*/ 1 w 903"/>
              <a:gd name="T97" fmla="*/ 776 h 813"/>
              <a:gd name="T98" fmla="*/ 13 w 903"/>
              <a:gd name="T99" fmla="*/ 800 h 813"/>
              <a:gd name="T100" fmla="*/ 36 w 903"/>
              <a:gd name="T101" fmla="*/ 812 h 813"/>
              <a:gd name="T102" fmla="*/ 867 w 903"/>
              <a:gd name="T103" fmla="*/ 812 h 813"/>
              <a:gd name="T104" fmla="*/ 890 w 903"/>
              <a:gd name="T105" fmla="*/ 800 h 813"/>
              <a:gd name="T106" fmla="*/ 902 w 903"/>
              <a:gd name="T107" fmla="*/ 776 h 813"/>
              <a:gd name="T108" fmla="*/ 902 w 903"/>
              <a:gd name="T109" fmla="*/ 186 h 813"/>
              <a:gd name="T110" fmla="*/ 890 w 903"/>
              <a:gd name="T111" fmla="*/ 164 h 813"/>
              <a:gd name="T112" fmla="*/ 867 w 903"/>
              <a:gd name="T113" fmla="*/ 151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813">
                <a:moveTo>
                  <a:pt x="768" y="361"/>
                </a:moveTo>
                <a:lnTo>
                  <a:pt x="120" y="361"/>
                </a:lnTo>
                <a:lnTo>
                  <a:pt x="117" y="361"/>
                </a:lnTo>
                <a:lnTo>
                  <a:pt x="115" y="360"/>
                </a:lnTo>
                <a:lnTo>
                  <a:pt x="111" y="358"/>
                </a:lnTo>
                <a:lnTo>
                  <a:pt x="109" y="357"/>
                </a:lnTo>
                <a:lnTo>
                  <a:pt x="108" y="355"/>
                </a:lnTo>
                <a:lnTo>
                  <a:pt x="106" y="351"/>
                </a:lnTo>
                <a:lnTo>
                  <a:pt x="105" y="349"/>
                </a:lnTo>
                <a:lnTo>
                  <a:pt x="105" y="346"/>
                </a:lnTo>
                <a:lnTo>
                  <a:pt x="105" y="343"/>
                </a:lnTo>
                <a:lnTo>
                  <a:pt x="106" y="340"/>
                </a:lnTo>
                <a:lnTo>
                  <a:pt x="108" y="337"/>
                </a:lnTo>
                <a:lnTo>
                  <a:pt x="109" y="335"/>
                </a:lnTo>
                <a:lnTo>
                  <a:pt x="111" y="333"/>
                </a:lnTo>
                <a:lnTo>
                  <a:pt x="115" y="332"/>
                </a:lnTo>
                <a:lnTo>
                  <a:pt x="117" y="331"/>
                </a:lnTo>
                <a:lnTo>
                  <a:pt x="120" y="331"/>
                </a:lnTo>
                <a:lnTo>
                  <a:pt x="768" y="331"/>
                </a:lnTo>
                <a:lnTo>
                  <a:pt x="771" y="331"/>
                </a:lnTo>
                <a:lnTo>
                  <a:pt x="773" y="332"/>
                </a:lnTo>
                <a:lnTo>
                  <a:pt x="776" y="333"/>
                </a:lnTo>
                <a:lnTo>
                  <a:pt x="779" y="335"/>
                </a:lnTo>
                <a:lnTo>
                  <a:pt x="780" y="337"/>
                </a:lnTo>
                <a:lnTo>
                  <a:pt x="782" y="340"/>
                </a:lnTo>
                <a:lnTo>
                  <a:pt x="782" y="343"/>
                </a:lnTo>
                <a:lnTo>
                  <a:pt x="783" y="346"/>
                </a:lnTo>
                <a:lnTo>
                  <a:pt x="782" y="349"/>
                </a:lnTo>
                <a:lnTo>
                  <a:pt x="782" y="351"/>
                </a:lnTo>
                <a:lnTo>
                  <a:pt x="780" y="355"/>
                </a:lnTo>
                <a:lnTo>
                  <a:pt x="779" y="357"/>
                </a:lnTo>
                <a:lnTo>
                  <a:pt x="776" y="358"/>
                </a:lnTo>
                <a:lnTo>
                  <a:pt x="773" y="360"/>
                </a:lnTo>
                <a:lnTo>
                  <a:pt x="771" y="361"/>
                </a:lnTo>
                <a:lnTo>
                  <a:pt x="768" y="361"/>
                </a:lnTo>
                <a:close/>
                <a:moveTo>
                  <a:pt x="768" y="511"/>
                </a:moveTo>
                <a:lnTo>
                  <a:pt x="120" y="511"/>
                </a:lnTo>
                <a:lnTo>
                  <a:pt x="117" y="511"/>
                </a:lnTo>
                <a:lnTo>
                  <a:pt x="115" y="510"/>
                </a:lnTo>
                <a:lnTo>
                  <a:pt x="111" y="509"/>
                </a:lnTo>
                <a:lnTo>
                  <a:pt x="109" y="507"/>
                </a:lnTo>
                <a:lnTo>
                  <a:pt x="108" y="505"/>
                </a:lnTo>
                <a:lnTo>
                  <a:pt x="106" y="503"/>
                </a:lnTo>
                <a:lnTo>
                  <a:pt x="105" y="499"/>
                </a:lnTo>
                <a:lnTo>
                  <a:pt x="105" y="496"/>
                </a:lnTo>
                <a:lnTo>
                  <a:pt x="105" y="493"/>
                </a:lnTo>
                <a:lnTo>
                  <a:pt x="106" y="491"/>
                </a:lnTo>
                <a:lnTo>
                  <a:pt x="108" y="488"/>
                </a:lnTo>
                <a:lnTo>
                  <a:pt x="109" y="485"/>
                </a:lnTo>
                <a:lnTo>
                  <a:pt x="111" y="484"/>
                </a:lnTo>
                <a:lnTo>
                  <a:pt x="115" y="482"/>
                </a:lnTo>
                <a:lnTo>
                  <a:pt x="117" y="481"/>
                </a:lnTo>
                <a:lnTo>
                  <a:pt x="120" y="481"/>
                </a:lnTo>
                <a:lnTo>
                  <a:pt x="768" y="481"/>
                </a:lnTo>
                <a:lnTo>
                  <a:pt x="771" y="481"/>
                </a:lnTo>
                <a:lnTo>
                  <a:pt x="773" y="482"/>
                </a:lnTo>
                <a:lnTo>
                  <a:pt x="776" y="484"/>
                </a:lnTo>
                <a:lnTo>
                  <a:pt x="779" y="485"/>
                </a:lnTo>
                <a:lnTo>
                  <a:pt x="780" y="488"/>
                </a:lnTo>
                <a:lnTo>
                  <a:pt x="782" y="491"/>
                </a:lnTo>
                <a:lnTo>
                  <a:pt x="782" y="493"/>
                </a:lnTo>
                <a:lnTo>
                  <a:pt x="783" y="496"/>
                </a:lnTo>
                <a:lnTo>
                  <a:pt x="782" y="499"/>
                </a:lnTo>
                <a:lnTo>
                  <a:pt x="782" y="503"/>
                </a:lnTo>
                <a:lnTo>
                  <a:pt x="780" y="505"/>
                </a:lnTo>
                <a:lnTo>
                  <a:pt x="779" y="507"/>
                </a:lnTo>
                <a:lnTo>
                  <a:pt x="776" y="509"/>
                </a:lnTo>
                <a:lnTo>
                  <a:pt x="773" y="510"/>
                </a:lnTo>
                <a:lnTo>
                  <a:pt x="771" y="511"/>
                </a:lnTo>
                <a:lnTo>
                  <a:pt x="768" y="511"/>
                </a:lnTo>
                <a:close/>
                <a:moveTo>
                  <a:pt x="768" y="661"/>
                </a:moveTo>
                <a:lnTo>
                  <a:pt x="120" y="661"/>
                </a:lnTo>
                <a:lnTo>
                  <a:pt x="117" y="661"/>
                </a:lnTo>
                <a:lnTo>
                  <a:pt x="115" y="660"/>
                </a:lnTo>
                <a:lnTo>
                  <a:pt x="111" y="659"/>
                </a:lnTo>
                <a:lnTo>
                  <a:pt x="109" y="657"/>
                </a:lnTo>
                <a:lnTo>
                  <a:pt x="108" y="655"/>
                </a:lnTo>
                <a:lnTo>
                  <a:pt x="106" y="653"/>
                </a:lnTo>
                <a:lnTo>
                  <a:pt x="105" y="650"/>
                </a:lnTo>
                <a:lnTo>
                  <a:pt x="105" y="646"/>
                </a:lnTo>
                <a:lnTo>
                  <a:pt x="105" y="644"/>
                </a:lnTo>
                <a:lnTo>
                  <a:pt x="106" y="641"/>
                </a:lnTo>
                <a:lnTo>
                  <a:pt x="108" y="639"/>
                </a:lnTo>
                <a:lnTo>
                  <a:pt x="109" y="637"/>
                </a:lnTo>
                <a:lnTo>
                  <a:pt x="111" y="635"/>
                </a:lnTo>
                <a:lnTo>
                  <a:pt x="115" y="633"/>
                </a:lnTo>
                <a:lnTo>
                  <a:pt x="117" y="632"/>
                </a:lnTo>
                <a:lnTo>
                  <a:pt x="120" y="631"/>
                </a:lnTo>
                <a:lnTo>
                  <a:pt x="768" y="631"/>
                </a:lnTo>
                <a:lnTo>
                  <a:pt x="771" y="632"/>
                </a:lnTo>
                <a:lnTo>
                  <a:pt x="773" y="633"/>
                </a:lnTo>
                <a:lnTo>
                  <a:pt x="776" y="635"/>
                </a:lnTo>
                <a:lnTo>
                  <a:pt x="779" y="637"/>
                </a:lnTo>
                <a:lnTo>
                  <a:pt x="780" y="639"/>
                </a:lnTo>
                <a:lnTo>
                  <a:pt x="782" y="641"/>
                </a:lnTo>
                <a:lnTo>
                  <a:pt x="782" y="644"/>
                </a:lnTo>
                <a:lnTo>
                  <a:pt x="783" y="646"/>
                </a:lnTo>
                <a:lnTo>
                  <a:pt x="782" y="650"/>
                </a:lnTo>
                <a:lnTo>
                  <a:pt x="782" y="653"/>
                </a:lnTo>
                <a:lnTo>
                  <a:pt x="780" y="655"/>
                </a:lnTo>
                <a:lnTo>
                  <a:pt x="779" y="657"/>
                </a:lnTo>
                <a:lnTo>
                  <a:pt x="776" y="659"/>
                </a:lnTo>
                <a:lnTo>
                  <a:pt x="773" y="660"/>
                </a:lnTo>
                <a:lnTo>
                  <a:pt x="770" y="661"/>
                </a:lnTo>
                <a:lnTo>
                  <a:pt x="768" y="662"/>
                </a:lnTo>
                <a:lnTo>
                  <a:pt x="768" y="661"/>
                </a:lnTo>
                <a:close/>
                <a:moveTo>
                  <a:pt x="331" y="90"/>
                </a:moveTo>
                <a:lnTo>
                  <a:pt x="572" y="90"/>
                </a:lnTo>
                <a:lnTo>
                  <a:pt x="572" y="150"/>
                </a:lnTo>
                <a:lnTo>
                  <a:pt x="331" y="150"/>
                </a:lnTo>
                <a:lnTo>
                  <a:pt x="331" y="90"/>
                </a:lnTo>
                <a:close/>
                <a:moveTo>
                  <a:pt x="858" y="150"/>
                </a:moveTo>
                <a:lnTo>
                  <a:pt x="602" y="150"/>
                </a:lnTo>
                <a:lnTo>
                  <a:pt x="602" y="90"/>
                </a:lnTo>
                <a:lnTo>
                  <a:pt x="602" y="75"/>
                </a:lnTo>
                <a:lnTo>
                  <a:pt x="602" y="30"/>
                </a:lnTo>
                <a:lnTo>
                  <a:pt x="602" y="23"/>
                </a:lnTo>
                <a:lnTo>
                  <a:pt x="599" y="18"/>
                </a:lnTo>
                <a:lnTo>
                  <a:pt x="596" y="12"/>
                </a:lnTo>
                <a:lnTo>
                  <a:pt x="593" y="8"/>
                </a:lnTo>
                <a:lnTo>
                  <a:pt x="589" y="5"/>
                </a:lnTo>
                <a:lnTo>
                  <a:pt x="583" y="2"/>
                </a:lnTo>
                <a:lnTo>
                  <a:pt x="578" y="1"/>
                </a:lnTo>
                <a:lnTo>
                  <a:pt x="572" y="0"/>
                </a:lnTo>
                <a:lnTo>
                  <a:pt x="331" y="0"/>
                </a:lnTo>
                <a:lnTo>
                  <a:pt x="325" y="1"/>
                </a:lnTo>
                <a:lnTo>
                  <a:pt x="320" y="2"/>
                </a:lnTo>
                <a:lnTo>
                  <a:pt x="314" y="5"/>
                </a:lnTo>
                <a:lnTo>
                  <a:pt x="310" y="8"/>
                </a:lnTo>
                <a:lnTo>
                  <a:pt x="306" y="12"/>
                </a:lnTo>
                <a:lnTo>
                  <a:pt x="303" y="18"/>
                </a:lnTo>
                <a:lnTo>
                  <a:pt x="301" y="23"/>
                </a:lnTo>
                <a:lnTo>
                  <a:pt x="301" y="30"/>
                </a:lnTo>
                <a:lnTo>
                  <a:pt x="301" y="75"/>
                </a:lnTo>
                <a:lnTo>
                  <a:pt x="301" y="90"/>
                </a:lnTo>
                <a:lnTo>
                  <a:pt x="301" y="150"/>
                </a:lnTo>
                <a:lnTo>
                  <a:pt x="45" y="150"/>
                </a:lnTo>
                <a:lnTo>
                  <a:pt x="36" y="151"/>
                </a:lnTo>
                <a:lnTo>
                  <a:pt x="28" y="154"/>
                </a:lnTo>
                <a:lnTo>
                  <a:pt x="19" y="158"/>
                </a:lnTo>
                <a:lnTo>
                  <a:pt x="13" y="164"/>
                </a:lnTo>
                <a:lnTo>
                  <a:pt x="7" y="170"/>
                </a:lnTo>
                <a:lnTo>
                  <a:pt x="3" y="178"/>
                </a:lnTo>
                <a:lnTo>
                  <a:pt x="1" y="186"/>
                </a:lnTo>
                <a:lnTo>
                  <a:pt x="0" y="195"/>
                </a:lnTo>
                <a:lnTo>
                  <a:pt x="0" y="768"/>
                </a:lnTo>
                <a:lnTo>
                  <a:pt x="1" y="776"/>
                </a:lnTo>
                <a:lnTo>
                  <a:pt x="3" y="785"/>
                </a:lnTo>
                <a:lnTo>
                  <a:pt x="7" y="792"/>
                </a:lnTo>
                <a:lnTo>
                  <a:pt x="13" y="800"/>
                </a:lnTo>
                <a:lnTo>
                  <a:pt x="19" y="805"/>
                </a:lnTo>
                <a:lnTo>
                  <a:pt x="28" y="809"/>
                </a:lnTo>
                <a:lnTo>
                  <a:pt x="36" y="812"/>
                </a:lnTo>
                <a:lnTo>
                  <a:pt x="45" y="813"/>
                </a:lnTo>
                <a:lnTo>
                  <a:pt x="858" y="813"/>
                </a:lnTo>
                <a:lnTo>
                  <a:pt x="867" y="812"/>
                </a:lnTo>
                <a:lnTo>
                  <a:pt x="875" y="809"/>
                </a:lnTo>
                <a:lnTo>
                  <a:pt x="883" y="805"/>
                </a:lnTo>
                <a:lnTo>
                  <a:pt x="890" y="800"/>
                </a:lnTo>
                <a:lnTo>
                  <a:pt x="895" y="792"/>
                </a:lnTo>
                <a:lnTo>
                  <a:pt x="900" y="785"/>
                </a:lnTo>
                <a:lnTo>
                  <a:pt x="902" y="776"/>
                </a:lnTo>
                <a:lnTo>
                  <a:pt x="903" y="768"/>
                </a:lnTo>
                <a:lnTo>
                  <a:pt x="903" y="195"/>
                </a:lnTo>
                <a:lnTo>
                  <a:pt x="902" y="186"/>
                </a:lnTo>
                <a:lnTo>
                  <a:pt x="900" y="178"/>
                </a:lnTo>
                <a:lnTo>
                  <a:pt x="895" y="170"/>
                </a:lnTo>
                <a:lnTo>
                  <a:pt x="890" y="164"/>
                </a:lnTo>
                <a:lnTo>
                  <a:pt x="883" y="158"/>
                </a:lnTo>
                <a:lnTo>
                  <a:pt x="875" y="154"/>
                </a:lnTo>
                <a:lnTo>
                  <a:pt x="867" y="151"/>
                </a:lnTo>
                <a:lnTo>
                  <a:pt x="858" y="1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114" name="Group 113"/>
          <p:cNvGrpSpPr/>
          <p:nvPr/>
        </p:nvGrpSpPr>
        <p:grpSpPr>
          <a:xfrm>
            <a:off x="4433462" y="5061052"/>
            <a:ext cx="258763" cy="287338"/>
            <a:chOff x="2608263" y="1920875"/>
            <a:chExt cx="258763" cy="287338"/>
          </a:xfrm>
          <a:solidFill>
            <a:schemeClr val="accent3"/>
          </a:solidFill>
        </p:grpSpPr>
        <p:sp>
          <p:nvSpPr>
            <p:cNvPr id="115" name="Rectangle 705"/>
            <p:cNvSpPr>
              <a:spLocks noChangeArrowheads="1"/>
            </p:cNvSpPr>
            <p:nvPr/>
          </p:nvSpPr>
          <p:spPr bwMode="auto">
            <a:xfrm>
              <a:off x="2808288" y="2122488"/>
              <a:ext cx="587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6" name="Freeform 706"/>
            <p:cNvSpPr/>
            <p:nvPr/>
          </p:nvSpPr>
          <p:spPr bwMode="auto">
            <a:xfrm>
              <a:off x="2808288" y="1920875"/>
              <a:ext cx="58738" cy="192088"/>
            </a:xfrm>
            <a:custGeom>
              <a:avLst/>
              <a:gdLst>
                <a:gd name="T0" fmla="*/ 163 w 181"/>
                <a:gd name="T1" fmla="*/ 0 h 602"/>
                <a:gd name="T2" fmla="*/ 158 w 181"/>
                <a:gd name="T3" fmla="*/ 3 h 602"/>
                <a:gd name="T4" fmla="*/ 154 w 181"/>
                <a:gd name="T5" fmla="*/ 7 h 602"/>
                <a:gd name="T6" fmla="*/ 151 w 181"/>
                <a:gd name="T7" fmla="*/ 12 h 602"/>
                <a:gd name="T8" fmla="*/ 151 w 181"/>
                <a:gd name="T9" fmla="*/ 211 h 602"/>
                <a:gd name="T10" fmla="*/ 150 w 181"/>
                <a:gd name="T11" fmla="*/ 222 h 602"/>
                <a:gd name="T12" fmla="*/ 146 w 181"/>
                <a:gd name="T13" fmla="*/ 234 h 602"/>
                <a:gd name="T14" fmla="*/ 141 w 181"/>
                <a:gd name="T15" fmla="*/ 245 h 602"/>
                <a:gd name="T16" fmla="*/ 133 w 181"/>
                <a:gd name="T17" fmla="*/ 254 h 602"/>
                <a:gd name="T18" fmla="*/ 125 w 181"/>
                <a:gd name="T19" fmla="*/ 261 h 602"/>
                <a:gd name="T20" fmla="*/ 114 w 181"/>
                <a:gd name="T21" fmla="*/ 266 h 602"/>
                <a:gd name="T22" fmla="*/ 103 w 181"/>
                <a:gd name="T23" fmla="*/ 270 h 602"/>
                <a:gd name="T24" fmla="*/ 91 w 181"/>
                <a:gd name="T25" fmla="*/ 271 h 602"/>
                <a:gd name="T26" fmla="*/ 78 w 181"/>
                <a:gd name="T27" fmla="*/ 270 h 602"/>
                <a:gd name="T28" fmla="*/ 68 w 181"/>
                <a:gd name="T29" fmla="*/ 266 h 602"/>
                <a:gd name="T30" fmla="*/ 57 w 181"/>
                <a:gd name="T31" fmla="*/ 261 h 602"/>
                <a:gd name="T32" fmla="*/ 48 w 181"/>
                <a:gd name="T33" fmla="*/ 254 h 602"/>
                <a:gd name="T34" fmla="*/ 41 w 181"/>
                <a:gd name="T35" fmla="*/ 245 h 602"/>
                <a:gd name="T36" fmla="*/ 36 w 181"/>
                <a:gd name="T37" fmla="*/ 234 h 602"/>
                <a:gd name="T38" fmla="*/ 32 w 181"/>
                <a:gd name="T39" fmla="*/ 224 h 602"/>
                <a:gd name="T40" fmla="*/ 30 w 181"/>
                <a:gd name="T41" fmla="*/ 211 h 602"/>
                <a:gd name="T42" fmla="*/ 30 w 181"/>
                <a:gd name="T43" fmla="*/ 12 h 602"/>
                <a:gd name="T44" fmla="*/ 28 w 181"/>
                <a:gd name="T45" fmla="*/ 7 h 602"/>
                <a:gd name="T46" fmla="*/ 24 w 181"/>
                <a:gd name="T47" fmla="*/ 3 h 602"/>
                <a:gd name="T48" fmla="*/ 18 w 181"/>
                <a:gd name="T49" fmla="*/ 0 h 602"/>
                <a:gd name="T50" fmla="*/ 13 w 181"/>
                <a:gd name="T51" fmla="*/ 0 h 602"/>
                <a:gd name="T52" fmla="*/ 8 w 181"/>
                <a:gd name="T53" fmla="*/ 3 h 602"/>
                <a:gd name="T54" fmla="*/ 3 w 181"/>
                <a:gd name="T55" fmla="*/ 7 h 602"/>
                <a:gd name="T56" fmla="*/ 1 w 181"/>
                <a:gd name="T57" fmla="*/ 12 h 602"/>
                <a:gd name="T58" fmla="*/ 0 w 181"/>
                <a:gd name="T59" fmla="*/ 211 h 602"/>
                <a:gd name="T60" fmla="*/ 181 w 181"/>
                <a:gd name="T61" fmla="*/ 602 h 602"/>
                <a:gd name="T62" fmla="*/ 181 w 181"/>
                <a:gd name="T63" fmla="*/ 15 h 602"/>
                <a:gd name="T64" fmla="*/ 180 w 181"/>
                <a:gd name="T65" fmla="*/ 9 h 602"/>
                <a:gd name="T66" fmla="*/ 177 w 181"/>
                <a:gd name="T67" fmla="*/ 5 h 602"/>
                <a:gd name="T68" fmla="*/ 172 w 181"/>
                <a:gd name="T69" fmla="*/ 2 h 602"/>
                <a:gd name="T70" fmla="*/ 166 w 181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602">
                  <a:moveTo>
                    <a:pt x="166" y="0"/>
                  </a:moveTo>
                  <a:lnTo>
                    <a:pt x="163" y="0"/>
                  </a:lnTo>
                  <a:lnTo>
                    <a:pt x="160" y="2"/>
                  </a:lnTo>
                  <a:lnTo>
                    <a:pt x="158" y="3"/>
                  </a:lnTo>
                  <a:lnTo>
                    <a:pt x="156" y="5"/>
                  </a:lnTo>
                  <a:lnTo>
                    <a:pt x="154" y="7"/>
                  </a:lnTo>
                  <a:lnTo>
                    <a:pt x="152" y="9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211"/>
                  </a:lnTo>
                  <a:lnTo>
                    <a:pt x="150" y="217"/>
                  </a:lnTo>
                  <a:lnTo>
                    <a:pt x="150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4" y="240"/>
                  </a:lnTo>
                  <a:lnTo>
                    <a:pt x="141" y="245"/>
                  </a:lnTo>
                  <a:lnTo>
                    <a:pt x="137" y="249"/>
                  </a:lnTo>
                  <a:lnTo>
                    <a:pt x="133" y="254"/>
                  </a:lnTo>
                  <a:lnTo>
                    <a:pt x="129" y="258"/>
                  </a:lnTo>
                  <a:lnTo>
                    <a:pt x="125" y="261"/>
                  </a:lnTo>
                  <a:lnTo>
                    <a:pt x="119" y="264"/>
                  </a:lnTo>
                  <a:lnTo>
                    <a:pt x="114" y="266"/>
                  </a:lnTo>
                  <a:lnTo>
                    <a:pt x="108" y="269"/>
                  </a:lnTo>
                  <a:lnTo>
                    <a:pt x="103" y="270"/>
                  </a:lnTo>
                  <a:lnTo>
                    <a:pt x="97" y="271"/>
                  </a:lnTo>
                  <a:lnTo>
                    <a:pt x="91" y="271"/>
                  </a:lnTo>
                  <a:lnTo>
                    <a:pt x="85" y="271"/>
                  </a:lnTo>
                  <a:lnTo>
                    <a:pt x="78" y="270"/>
                  </a:lnTo>
                  <a:lnTo>
                    <a:pt x="73" y="269"/>
                  </a:lnTo>
                  <a:lnTo>
                    <a:pt x="68" y="266"/>
                  </a:lnTo>
                  <a:lnTo>
                    <a:pt x="62" y="264"/>
                  </a:lnTo>
                  <a:lnTo>
                    <a:pt x="57" y="261"/>
                  </a:lnTo>
                  <a:lnTo>
                    <a:pt x="53" y="258"/>
                  </a:lnTo>
                  <a:lnTo>
                    <a:pt x="48" y="254"/>
                  </a:lnTo>
                  <a:lnTo>
                    <a:pt x="44" y="249"/>
                  </a:lnTo>
                  <a:lnTo>
                    <a:pt x="41" y="245"/>
                  </a:lnTo>
                  <a:lnTo>
                    <a:pt x="38" y="240"/>
                  </a:lnTo>
                  <a:lnTo>
                    <a:pt x="36" y="234"/>
                  </a:lnTo>
                  <a:lnTo>
                    <a:pt x="33" y="229"/>
                  </a:lnTo>
                  <a:lnTo>
                    <a:pt x="32" y="224"/>
                  </a:lnTo>
                  <a:lnTo>
                    <a:pt x="31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6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1" y="602"/>
                  </a:lnTo>
                  <a:lnTo>
                    <a:pt x="181" y="211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7" y="5"/>
                  </a:lnTo>
                  <a:lnTo>
                    <a:pt x="175" y="3"/>
                  </a:lnTo>
                  <a:lnTo>
                    <a:pt x="172" y="2"/>
                  </a:lnTo>
                  <a:lnTo>
                    <a:pt x="170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7" name="Freeform 707"/>
            <p:cNvSpPr/>
            <p:nvPr/>
          </p:nvSpPr>
          <p:spPr bwMode="auto">
            <a:xfrm>
              <a:off x="2808288" y="2151063"/>
              <a:ext cx="58738" cy="57150"/>
            </a:xfrm>
            <a:custGeom>
              <a:avLst/>
              <a:gdLst>
                <a:gd name="T0" fmla="*/ 0 w 181"/>
                <a:gd name="T1" fmla="*/ 91 h 182"/>
                <a:gd name="T2" fmla="*/ 1 w 181"/>
                <a:gd name="T3" fmla="*/ 100 h 182"/>
                <a:gd name="T4" fmla="*/ 2 w 181"/>
                <a:gd name="T5" fmla="*/ 110 h 182"/>
                <a:gd name="T6" fmla="*/ 4 w 181"/>
                <a:gd name="T7" fmla="*/ 118 h 182"/>
                <a:gd name="T8" fmla="*/ 8 w 181"/>
                <a:gd name="T9" fmla="*/ 126 h 182"/>
                <a:gd name="T10" fmla="*/ 12 w 181"/>
                <a:gd name="T11" fmla="*/ 134 h 182"/>
                <a:gd name="T12" fmla="*/ 16 w 181"/>
                <a:gd name="T13" fmla="*/ 142 h 182"/>
                <a:gd name="T14" fmla="*/ 22 w 181"/>
                <a:gd name="T15" fmla="*/ 148 h 182"/>
                <a:gd name="T16" fmla="*/ 27 w 181"/>
                <a:gd name="T17" fmla="*/ 155 h 182"/>
                <a:gd name="T18" fmla="*/ 33 w 181"/>
                <a:gd name="T19" fmla="*/ 161 h 182"/>
                <a:gd name="T20" fmla="*/ 41 w 181"/>
                <a:gd name="T21" fmla="*/ 165 h 182"/>
                <a:gd name="T22" fmla="*/ 47 w 181"/>
                <a:gd name="T23" fmla="*/ 171 h 182"/>
                <a:gd name="T24" fmla="*/ 56 w 181"/>
                <a:gd name="T25" fmla="*/ 174 h 182"/>
                <a:gd name="T26" fmla="*/ 65 w 181"/>
                <a:gd name="T27" fmla="*/ 177 h 182"/>
                <a:gd name="T28" fmla="*/ 73 w 181"/>
                <a:gd name="T29" fmla="*/ 179 h 182"/>
                <a:gd name="T30" fmla="*/ 82 w 181"/>
                <a:gd name="T31" fmla="*/ 181 h 182"/>
                <a:gd name="T32" fmla="*/ 91 w 181"/>
                <a:gd name="T33" fmla="*/ 182 h 182"/>
                <a:gd name="T34" fmla="*/ 100 w 181"/>
                <a:gd name="T35" fmla="*/ 181 h 182"/>
                <a:gd name="T36" fmla="*/ 110 w 181"/>
                <a:gd name="T37" fmla="*/ 179 h 182"/>
                <a:gd name="T38" fmla="*/ 118 w 181"/>
                <a:gd name="T39" fmla="*/ 177 h 182"/>
                <a:gd name="T40" fmla="*/ 126 w 181"/>
                <a:gd name="T41" fmla="*/ 174 h 182"/>
                <a:gd name="T42" fmla="*/ 134 w 181"/>
                <a:gd name="T43" fmla="*/ 171 h 182"/>
                <a:gd name="T44" fmla="*/ 142 w 181"/>
                <a:gd name="T45" fmla="*/ 165 h 182"/>
                <a:gd name="T46" fmla="*/ 148 w 181"/>
                <a:gd name="T47" fmla="*/ 161 h 182"/>
                <a:gd name="T48" fmla="*/ 155 w 181"/>
                <a:gd name="T49" fmla="*/ 155 h 182"/>
                <a:gd name="T50" fmla="*/ 161 w 181"/>
                <a:gd name="T51" fmla="*/ 148 h 182"/>
                <a:gd name="T52" fmla="*/ 165 w 181"/>
                <a:gd name="T53" fmla="*/ 142 h 182"/>
                <a:gd name="T54" fmla="*/ 171 w 181"/>
                <a:gd name="T55" fmla="*/ 134 h 182"/>
                <a:gd name="T56" fmla="*/ 174 w 181"/>
                <a:gd name="T57" fmla="*/ 126 h 182"/>
                <a:gd name="T58" fmla="*/ 177 w 181"/>
                <a:gd name="T59" fmla="*/ 118 h 182"/>
                <a:gd name="T60" fmla="*/ 179 w 181"/>
                <a:gd name="T61" fmla="*/ 110 h 182"/>
                <a:gd name="T62" fmla="*/ 180 w 181"/>
                <a:gd name="T63" fmla="*/ 100 h 182"/>
                <a:gd name="T64" fmla="*/ 181 w 181"/>
                <a:gd name="T65" fmla="*/ 91 h 182"/>
                <a:gd name="T66" fmla="*/ 181 w 181"/>
                <a:gd name="T67" fmla="*/ 0 h 182"/>
                <a:gd name="T68" fmla="*/ 0 w 181"/>
                <a:gd name="T69" fmla="*/ 0 h 182"/>
                <a:gd name="T70" fmla="*/ 0 w 181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182">
                  <a:moveTo>
                    <a:pt x="0" y="91"/>
                  </a:moveTo>
                  <a:lnTo>
                    <a:pt x="1" y="100"/>
                  </a:lnTo>
                  <a:lnTo>
                    <a:pt x="2" y="110"/>
                  </a:lnTo>
                  <a:lnTo>
                    <a:pt x="4" y="118"/>
                  </a:lnTo>
                  <a:lnTo>
                    <a:pt x="8" y="126"/>
                  </a:lnTo>
                  <a:lnTo>
                    <a:pt x="12" y="134"/>
                  </a:lnTo>
                  <a:lnTo>
                    <a:pt x="16" y="142"/>
                  </a:lnTo>
                  <a:lnTo>
                    <a:pt x="22" y="148"/>
                  </a:lnTo>
                  <a:lnTo>
                    <a:pt x="27" y="155"/>
                  </a:lnTo>
                  <a:lnTo>
                    <a:pt x="33" y="161"/>
                  </a:lnTo>
                  <a:lnTo>
                    <a:pt x="41" y="165"/>
                  </a:lnTo>
                  <a:lnTo>
                    <a:pt x="47" y="171"/>
                  </a:lnTo>
                  <a:lnTo>
                    <a:pt x="56" y="174"/>
                  </a:lnTo>
                  <a:lnTo>
                    <a:pt x="65" y="177"/>
                  </a:lnTo>
                  <a:lnTo>
                    <a:pt x="73" y="179"/>
                  </a:lnTo>
                  <a:lnTo>
                    <a:pt x="82" y="181"/>
                  </a:lnTo>
                  <a:lnTo>
                    <a:pt x="91" y="182"/>
                  </a:lnTo>
                  <a:lnTo>
                    <a:pt x="100" y="181"/>
                  </a:lnTo>
                  <a:lnTo>
                    <a:pt x="110" y="179"/>
                  </a:lnTo>
                  <a:lnTo>
                    <a:pt x="118" y="177"/>
                  </a:lnTo>
                  <a:lnTo>
                    <a:pt x="126" y="174"/>
                  </a:lnTo>
                  <a:lnTo>
                    <a:pt x="134" y="171"/>
                  </a:lnTo>
                  <a:lnTo>
                    <a:pt x="142" y="165"/>
                  </a:lnTo>
                  <a:lnTo>
                    <a:pt x="148" y="161"/>
                  </a:lnTo>
                  <a:lnTo>
                    <a:pt x="155" y="155"/>
                  </a:lnTo>
                  <a:lnTo>
                    <a:pt x="161" y="148"/>
                  </a:lnTo>
                  <a:lnTo>
                    <a:pt x="165" y="142"/>
                  </a:lnTo>
                  <a:lnTo>
                    <a:pt x="171" y="134"/>
                  </a:lnTo>
                  <a:lnTo>
                    <a:pt x="174" y="126"/>
                  </a:lnTo>
                  <a:lnTo>
                    <a:pt x="177" y="118"/>
                  </a:lnTo>
                  <a:lnTo>
                    <a:pt x="179" y="110"/>
                  </a:lnTo>
                  <a:lnTo>
                    <a:pt x="180" y="100"/>
                  </a:lnTo>
                  <a:lnTo>
                    <a:pt x="181" y="91"/>
                  </a:lnTo>
                  <a:lnTo>
                    <a:pt x="181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8" name="Freeform 708"/>
            <p:cNvSpPr/>
            <p:nvPr/>
          </p:nvSpPr>
          <p:spPr bwMode="auto">
            <a:xfrm>
              <a:off x="2833688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7 w 30"/>
                <a:gd name="T3" fmla="*/ 181 h 181"/>
                <a:gd name="T4" fmla="*/ 21 w 30"/>
                <a:gd name="T5" fmla="*/ 180 h 181"/>
                <a:gd name="T6" fmla="*/ 23 w 30"/>
                <a:gd name="T7" fmla="*/ 179 h 181"/>
                <a:gd name="T8" fmla="*/ 26 w 30"/>
                <a:gd name="T9" fmla="*/ 176 h 181"/>
                <a:gd name="T10" fmla="*/ 27 w 30"/>
                <a:gd name="T11" fmla="*/ 174 h 181"/>
                <a:gd name="T12" fmla="*/ 29 w 30"/>
                <a:gd name="T13" fmla="*/ 172 h 181"/>
                <a:gd name="T14" fmla="*/ 29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29 w 30"/>
                <a:gd name="T21" fmla="*/ 12 h 181"/>
                <a:gd name="T22" fmla="*/ 29 w 30"/>
                <a:gd name="T23" fmla="*/ 9 h 181"/>
                <a:gd name="T24" fmla="*/ 27 w 30"/>
                <a:gd name="T25" fmla="*/ 7 h 181"/>
                <a:gd name="T26" fmla="*/ 26 w 30"/>
                <a:gd name="T27" fmla="*/ 5 h 181"/>
                <a:gd name="T28" fmla="*/ 23 w 30"/>
                <a:gd name="T29" fmla="*/ 3 h 181"/>
                <a:gd name="T30" fmla="*/ 21 w 30"/>
                <a:gd name="T31" fmla="*/ 2 h 181"/>
                <a:gd name="T32" fmla="*/ 17 w 30"/>
                <a:gd name="T33" fmla="*/ 0 h 181"/>
                <a:gd name="T34" fmla="*/ 15 w 30"/>
                <a:gd name="T35" fmla="*/ 0 h 181"/>
                <a:gd name="T36" fmla="*/ 12 w 30"/>
                <a:gd name="T37" fmla="*/ 0 h 181"/>
                <a:gd name="T38" fmla="*/ 9 w 30"/>
                <a:gd name="T39" fmla="*/ 2 h 181"/>
                <a:gd name="T40" fmla="*/ 7 w 30"/>
                <a:gd name="T41" fmla="*/ 3 h 181"/>
                <a:gd name="T42" fmla="*/ 5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5 w 30"/>
                <a:gd name="T61" fmla="*/ 176 h 181"/>
                <a:gd name="T62" fmla="*/ 7 w 30"/>
                <a:gd name="T63" fmla="*/ 179 h 181"/>
                <a:gd name="T64" fmla="*/ 9 w 30"/>
                <a:gd name="T65" fmla="*/ 180 h 181"/>
                <a:gd name="T66" fmla="*/ 12 w 30"/>
                <a:gd name="T67" fmla="*/ 181 h 181"/>
                <a:gd name="T68" fmla="*/ 15 w 30"/>
                <a:gd name="T69" fmla="*/ 181 h 181"/>
                <a:gd name="T70" fmla="*/ 15 w 30"/>
                <a:gd name="T7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7" y="181"/>
                  </a:lnTo>
                  <a:lnTo>
                    <a:pt x="21" y="180"/>
                  </a:lnTo>
                  <a:lnTo>
                    <a:pt x="23" y="179"/>
                  </a:lnTo>
                  <a:lnTo>
                    <a:pt x="26" y="176"/>
                  </a:lnTo>
                  <a:lnTo>
                    <a:pt x="27" y="174"/>
                  </a:lnTo>
                  <a:lnTo>
                    <a:pt x="29" y="172"/>
                  </a:lnTo>
                  <a:lnTo>
                    <a:pt x="29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5" y="176"/>
                  </a:lnTo>
                  <a:lnTo>
                    <a:pt x="7" y="179"/>
                  </a:lnTo>
                  <a:lnTo>
                    <a:pt x="9" y="180"/>
                  </a:lnTo>
                  <a:lnTo>
                    <a:pt x="12" y="181"/>
                  </a:lnTo>
                  <a:lnTo>
                    <a:pt x="15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9" name="Freeform 709"/>
            <p:cNvSpPr/>
            <p:nvPr/>
          </p:nvSpPr>
          <p:spPr bwMode="auto">
            <a:xfrm>
              <a:off x="2741613" y="1920875"/>
              <a:ext cx="57150" cy="192088"/>
            </a:xfrm>
            <a:custGeom>
              <a:avLst/>
              <a:gdLst>
                <a:gd name="T0" fmla="*/ 162 w 180"/>
                <a:gd name="T1" fmla="*/ 0 h 602"/>
                <a:gd name="T2" fmla="*/ 157 w 180"/>
                <a:gd name="T3" fmla="*/ 3 h 602"/>
                <a:gd name="T4" fmla="*/ 153 w 180"/>
                <a:gd name="T5" fmla="*/ 7 h 602"/>
                <a:gd name="T6" fmla="*/ 151 w 180"/>
                <a:gd name="T7" fmla="*/ 12 h 602"/>
                <a:gd name="T8" fmla="*/ 150 w 180"/>
                <a:gd name="T9" fmla="*/ 211 h 602"/>
                <a:gd name="T10" fmla="*/ 149 w 180"/>
                <a:gd name="T11" fmla="*/ 222 h 602"/>
                <a:gd name="T12" fmla="*/ 146 w 180"/>
                <a:gd name="T13" fmla="*/ 234 h 602"/>
                <a:gd name="T14" fmla="*/ 140 w 180"/>
                <a:gd name="T15" fmla="*/ 245 h 602"/>
                <a:gd name="T16" fmla="*/ 133 w 180"/>
                <a:gd name="T17" fmla="*/ 254 h 602"/>
                <a:gd name="T18" fmla="*/ 123 w 180"/>
                <a:gd name="T19" fmla="*/ 261 h 602"/>
                <a:gd name="T20" fmla="*/ 114 w 180"/>
                <a:gd name="T21" fmla="*/ 266 h 602"/>
                <a:gd name="T22" fmla="*/ 102 w 180"/>
                <a:gd name="T23" fmla="*/ 270 h 602"/>
                <a:gd name="T24" fmla="*/ 90 w 180"/>
                <a:gd name="T25" fmla="*/ 271 h 602"/>
                <a:gd name="T26" fmla="*/ 78 w 180"/>
                <a:gd name="T27" fmla="*/ 270 h 602"/>
                <a:gd name="T28" fmla="*/ 66 w 180"/>
                <a:gd name="T29" fmla="*/ 266 h 602"/>
                <a:gd name="T30" fmla="*/ 57 w 180"/>
                <a:gd name="T31" fmla="*/ 261 h 602"/>
                <a:gd name="T32" fmla="*/ 47 w 180"/>
                <a:gd name="T33" fmla="*/ 254 h 602"/>
                <a:gd name="T34" fmla="*/ 41 w 180"/>
                <a:gd name="T35" fmla="*/ 245 h 602"/>
                <a:gd name="T36" fmla="*/ 34 w 180"/>
                <a:gd name="T37" fmla="*/ 234 h 602"/>
                <a:gd name="T38" fmla="*/ 31 w 180"/>
                <a:gd name="T39" fmla="*/ 224 h 602"/>
                <a:gd name="T40" fmla="*/ 30 w 180"/>
                <a:gd name="T41" fmla="*/ 211 h 602"/>
                <a:gd name="T42" fmla="*/ 30 w 180"/>
                <a:gd name="T43" fmla="*/ 12 h 602"/>
                <a:gd name="T44" fmla="*/ 28 w 180"/>
                <a:gd name="T45" fmla="*/ 7 h 602"/>
                <a:gd name="T46" fmla="*/ 24 w 180"/>
                <a:gd name="T47" fmla="*/ 3 h 602"/>
                <a:gd name="T48" fmla="*/ 18 w 180"/>
                <a:gd name="T49" fmla="*/ 0 h 602"/>
                <a:gd name="T50" fmla="*/ 12 w 180"/>
                <a:gd name="T51" fmla="*/ 0 h 602"/>
                <a:gd name="T52" fmla="*/ 6 w 180"/>
                <a:gd name="T53" fmla="*/ 3 h 602"/>
                <a:gd name="T54" fmla="*/ 2 w 180"/>
                <a:gd name="T55" fmla="*/ 7 h 602"/>
                <a:gd name="T56" fmla="*/ 0 w 180"/>
                <a:gd name="T57" fmla="*/ 12 h 602"/>
                <a:gd name="T58" fmla="*/ 0 w 180"/>
                <a:gd name="T59" fmla="*/ 211 h 602"/>
                <a:gd name="T60" fmla="*/ 180 w 180"/>
                <a:gd name="T61" fmla="*/ 602 h 602"/>
                <a:gd name="T62" fmla="*/ 180 w 180"/>
                <a:gd name="T63" fmla="*/ 15 h 602"/>
                <a:gd name="T64" fmla="*/ 179 w 180"/>
                <a:gd name="T65" fmla="*/ 9 h 602"/>
                <a:gd name="T66" fmla="*/ 176 w 180"/>
                <a:gd name="T67" fmla="*/ 5 h 602"/>
                <a:gd name="T68" fmla="*/ 172 w 180"/>
                <a:gd name="T69" fmla="*/ 2 h 602"/>
                <a:gd name="T70" fmla="*/ 165 w 180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602">
                  <a:moveTo>
                    <a:pt x="165" y="0"/>
                  </a:moveTo>
                  <a:lnTo>
                    <a:pt x="162" y="0"/>
                  </a:lnTo>
                  <a:lnTo>
                    <a:pt x="160" y="2"/>
                  </a:lnTo>
                  <a:lnTo>
                    <a:pt x="157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211"/>
                  </a:lnTo>
                  <a:lnTo>
                    <a:pt x="150" y="217"/>
                  </a:lnTo>
                  <a:lnTo>
                    <a:pt x="149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3" y="240"/>
                  </a:lnTo>
                  <a:lnTo>
                    <a:pt x="140" y="245"/>
                  </a:lnTo>
                  <a:lnTo>
                    <a:pt x="136" y="249"/>
                  </a:lnTo>
                  <a:lnTo>
                    <a:pt x="133" y="254"/>
                  </a:lnTo>
                  <a:lnTo>
                    <a:pt x="129" y="258"/>
                  </a:lnTo>
                  <a:lnTo>
                    <a:pt x="123" y="261"/>
                  </a:lnTo>
                  <a:lnTo>
                    <a:pt x="119" y="264"/>
                  </a:lnTo>
                  <a:lnTo>
                    <a:pt x="114" y="266"/>
                  </a:lnTo>
                  <a:lnTo>
                    <a:pt x="108" y="269"/>
                  </a:lnTo>
                  <a:lnTo>
                    <a:pt x="102" y="270"/>
                  </a:lnTo>
                  <a:lnTo>
                    <a:pt x="96" y="271"/>
                  </a:lnTo>
                  <a:lnTo>
                    <a:pt x="90" y="271"/>
                  </a:lnTo>
                  <a:lnTo>
                    <a:pt x="84" y="271"/>
                  </a:lnTo>
                  <a:lnTo>
                    <a:pt x="78" y="270"/>
                  </a:lnTo>
                  <a:lnTo>
                    <a:pt x="72" y="269"/>
                  </a:lnTo>
                  <a:lnTo>
                    <a:pt x="66" y="266"/>
                  </a:lnTo>
                  <a:lnTo>
                    <a:pt x="61" y="264"/>
                  </a:lnTo>
                  <a:lnTo>
                    <a:pt x="57" y="261"/>
                  </a:lnTo>
                  <a:lnTo>
                    <a:pt x="51" y="258"/>
                  </a:lnTo>
                  <a:lnTo>
                    <a:pt x="47" y="254"/>
                  </a:lnTo>
                  <a:lnTo>
                    <a:pt x="44" y="249"/>
                  </a:lnTo>
                  <a:lnTo>
                    <a:pt x="41" y="245"/>
                  </a:lnTo>
                  <a:lnTo>
                    <a:pt x="37" y="240"/>
                  </a:lnTo>
                  <a:lnTo>
                    <a:pt x="34" y="234"/>
                  </a:lnTo>
                  <a:lnTo>
                    <a:pt x="32" y="229"/>
                  </a:lnTo>
                  <a:lnTo>
                    <a:pt x="31" y="224"/>
                  </a:lnTo>
                  <a:lnTo>
                    <a:pt x="30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0" y="602"/>
                  </a:lnTo>
                  <a:lnTo>
                    <a:pt x="180" y="211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0" name="Freeform 710"/>
            <p:cNvSpPr/>
            <p:nvPr/>
          </p:nvSpPr>
          <p:spPr bwMode="auto">
            <a:xfrm>
              <a:off x="2741613" y="2151063"/>
              <a:ext cx="57150" cy="57150"/>
            </a:xfrm>
            <a:custGeom>
              <a:avLst/>
              <a:gdLst>
                <a:gd name="T0" fmla="*/ 0 w 180"/>
                <a:gd name="T1" fmla="*/ 91 h 182"/>
                <a:gd name="T2" fmla="*/ 0 w 180"/>
                <a:gd name="T3" fmla="*/ 100 h 182"/>
                <a:gd name="T4" fmla="*/ 2 w 180"/>
                <a:gd name="T5" fmla="*/ 110 h 182"/>
                <a:gd name="T6" fmla="*/ 4 w 180"/>
                <a:gd name="T7" fmla="*/ 118 h 182"/>
                <a:gd name="T8" fmla="*/ 7 w 180"/>
                <a:gd name="T9" fmla="*/ 126 h 182"/>
                <a:gd name="T10" fmla="*/ 11 w 180"/>
                <a:gd name="T11" fmla="*/ 134 h 182"/>
                <a:gd name="T12" fmla="*/ 15 w 180"/>
                <a:gd name="T13" fmla="*/ 142 h 182"/>
                <a:gd name="T14" fmla="*/ 20 w 180"/>
                <a:gd name="T15" fmla="*/ 148 h 182"/>
                <a:gd name="T16" fmla="*/ 27 w 180"/>
                <a:gd name="T17" fmla="*/ 155 h 182"/>
                <a:gd name="T18" fmla="*/ 33 w 180"/>
                <a:gd name="T19" fmla="*/ 161 h 182"/>
                <a:gd name="T20" fmla="*/ 40 w 180"/>
                <a:gd name="T21" fmla="*/ 165 h 182"/>
                <a:gd name="T22" fmla="*/ 47 w 180"/>
                <a:gd name="T23" fmla="*/ 171 h 182"/>
                <a:gd name="T24" fmla="*/ 55 w 180"/>
                <a:gd name="T25" fmla="*/ 174 h 182"/>
                <a:gd name="T26" fmla="*/ 63 w 180"/>
                <a:gd name="T27" fmla="*/ 177 h 182"/>
                <a:gd name="T28" fmla="*/ 72 w 180"/>
                <a:gd name="T29" fmla="*/ 179 h 182"/>
                <a:gd name="T30" fmla="*/ 80 w 180"/>
                <a:gd name="T31" fmla="*/ 181 h 182"/>
                <a:gd name="T32" fmla="*/ 90 w 180"/>
                <a:gd name="T33" fmla="*/ 182 h 182"/>
                <a:gd name="T34" fmla="*/ 100 w 180"/>
                <a:gd name="T35" fmla="*/ 181 h 182"/>
                <a:gd name="T36" fmla="*/ 108 w 180"/>
                <a:gd name="T37" fmla="*/ 179 h 182"/>
                <a:gd name="T38" fmla="*/ 117 w 180"/>
                <a:gd name="T39" fmla="*/ 177 h 182"/>
                <a:gd name="T40" fmla="*/ 125 w 180"/>
                <a:gd name="T41" fmla="*/ 174 h 182"/>
                <a:gd name="T42" fmla="*/ 133 w 180"/>
                <a:gd name="T43" fmla="*/ 171 h 182"/>
                <a:gd name="T44" fmla="*/ 140 w 180"/>
                <a:gd name="T45" fmla="*/ 165 h 182"/>
                <a:gd name="T46" fmla="*/ 148 w 180"/>
                <a:gd name="T47" fmla="*/ 161 h 182"/>
                <a:gd name="T48" fmla="*/ 154 w 180"/>
                <a:gd name="T49" fmla="*/ 155 h 182"/>
                <a:gd name="T50" fmla="*/ 160 w 180"/>
                <a:gd name="T51" fmla="*/ 148 h 182"/>
                <a:gd name="T52" fmla="*/ 165 w 180"/>
                <a:gd name="T53" fmla="*/ 142 h 182"/>
                <a:gd name="T54" fmla="*/ 169 w 180"/>
                <a:gd name="T55" fmla="*/ 134 h 182"/>
                <a:gd name="T56" fmla="*/ 174 w 180"/>
                <a:gd name="T57" fmla="*/ 126 h 182"/>
                <a:gd name="T58" fmla="*/ 177 w 180"/>
                <a:gd name="T59" fmla="*/ 118 h 182"/>
                <a:gd name="T60" fmla="*/ 179 w 180"/>
                <a:gd name="T61" fmla="*/ 110 h 182"/>
                <a:gd name="T62" fmla="*/ 180 w 180"/>
                <a:gd name="T63" fmla="*/ 100 h 182"/>
                <a:gd name="T64" fmla="*/ 180 w 180"/>
                <a:gd name="T65" fmla="*/ 91 h 182"/>
                <a:gd name="T66" fmla="*/ 180 w 180"/>
                <a:gd name="T67" fmla="*/ 0 h 182"/>
                <a:gd name="T68" fmla="*/ 0 w 180"/>
                <a:gd name="T69" fmla="*/ 0 h 182"/>
                <a:gd name="T70" fmla="*/ 0 w 180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182">
                  <a:moveTo>
                    <a:pt x="0" y="91"/>
                  </a:moveTo>
                  <a:lnTo>
                    <a:pt x="0" y="100"/>
                  </a:lnTo>
                  <a:lnTo>
                    <a:pt x="2" y="110"/>
                  </a:lnTo>
                  <a:lnTo>
                    <a:pt x="4" y="118"/>
                  </a:lnTo>
                  <a:lnTo>
                    <a:pt x="7" y="126"/>
                  </a:lnTo>
                  <a:lnTo>
                    <a:pt x="11" y="134"/>
                  </a:lnTo>
                  <a:lnTo>
                    <a:pt x="15" y="142"/>
                  </a:lnTo>
                  <a:lnTo>
                    <a:pt x="20" y="148"/>
                  </a:lnTo>
                  <a:lnTo>
                    <a:pt x="27" y="155"/>
                  </a:lnTo>
                  <a:lnTo>
                    <a:pt x="33" y="161"/>
                  </a:lnTo>
                  <a:lnTo>
                    <a:pt x="40" y="165"/>
                  </a:lnTo>
                  <a:lnTo>
                    <a:pt x="47" y="171"/>
                  </a:lnTo>
                  <a:lnTo>
                    <a:pt x="55" y="174"/>
                  </a:lnTo>
                  <a:lnTo>
                    <a:pt x="63" y="177"/>
                  </a:lnTo>
                  <a:lnTo>
                    <a:pt x="72" y="179"/>
                  </a:lnTo>
                  <a:lnTo>
                    <a:pt x="80" y="181"/>
                  </a:lnTo>
                  <a:lnTo>
                    <a:pt x="90" y="182"/>
                  </a:lnTo>
                  <a:lnTo>
                    <a:pt x="100" y="181"/>
                  </a:lnTo>
                  <a:lnTo>
                    <a:pt x="108" y="179"/>
                  </a:lnTo>
                  <a:lnTo>
                    <a:pt x="117" y="177"/>
                  </a:lnTo>
                  <a:lnTo>
                    <a:pt x="125" y="174"/>
                  </a:lnTo>
                  <a:lnTo>
                    <a:pt x="133" y="171"/>
                  </a:lnTo>
                  <a:lnTo>
                    <a:pt x="140" y="165"/>
                  </a:lnTo>
                  <a:lnTo>
                    <a:pt x="148" y="161"/>
                  </a:lnTo>
                  <a:lnTo>
                    <a:pt x="154" y="155"/>
                  </a:lnTo>
                  <a:lnTo>
                    <a:pt x="160" y="148"/>
                  </a:lnTo>
                  <a:lnTo>
                    <a:pt x="165" y="142"/>
                  </a:lnTo>
                  <a:lnTo>
                    <a:pt x="169" y="134"/>
                  </a:lnTo>
                  <a:lnTo>
                    <a:pt x="174" y="126"/>
                  </a:lnTo>
                  <a:lnTo>
                    <a:pt x="177" y="118"/>
                  </a:lnTo>
                  <a:lnTo>
                    <a:pt x="179" y="110"/>
                  </a:lnTo>
                  <a:lnTo>
                    <a:pt x="180" y="100"/>
                  </a:lnTo>
                  <a:lnTo>
                    <a:pt x="180" y="91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1" name="Rectangle 711"/>
            <p:cNvSpPr>
              <a:spLocks noChangeArrowheads="1"/>
            </p:cNvSpPr>
            <p:nvPr/>
          </p:nvSpPr>
          <p:spPr bwMode="auto">
            <a:xfrm>
              <a:off x="2741613" y="2122488"/>
              <a:ext cx="571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Freeform 712"/>
            <p:cNvSpPr/>
            <p:nvPr/>
          </p:nvSpPr>
          <p:spPr bwMode="auto">
            <a:xfrm>
              <a:off x="2765425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8 w 30"/>
                <a:gd name="T3" fmla="*/ 181 h 181"/>
                <a:gd name="T4" fmla="*/ 21 w 30"/>
                <a:gd name="T5" fmla="*/ 180 h 181"/>
                <a:gd name="T6" fmla="*/ 24 w 30"/>
                <a:gd name="T7" fmla="*/ 179 h 181"/>
                <a:gd name="T8" fmla="*/ 26 w 30"/>
                <a:gd name="T9" fmla="*/ 176 h 181"/>
                <a:gd name="T10" fmla="*/ 28 w 30"/>
                <a:gd name="T11" fmla="*/ 174 h 181"/>
                <a:gd name="T12" fmla="*/ 29 w 30"/>
                <a:gd name="T13" fmla="*/ 172 h 181"/>
                <a:gd name="T14" fmla="*/ 30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30 w 30"/>
                <a:gd name="T21" fmla="*/ 12 h 181"/>
                <a:gd name="T22" fmla="*/ 29 w 30"/>
                <a:gd name="T23" fmla="*/ 9 h 181"/>
                <a:gd name="T24" fmla="*/ 28 w 30"/>
                <a:gd name="T25" fmla="*/ 7 h 181"/>
                <a:gd name="T26" fmla="*/ 26 w 30"/>
                <a:gd name="T27" fmla="*/ 5 h 181"/>
                <a:gd name="T28" fmla="*/ 24 w 30"/>
                <a:gd name="T29" fmla="*/ 3 h 181"/>
                <a:gd name="T30" fmla="*/ 21 w 30"/>
                <a:gd name="T31" fmla="*/ 2 h 181"/>
                <a:gd name="T32" fmla="*/ 18 w 30"/>
                <a:gd name="T33" fmla="*/ 0 h 181"/>
                <a:gd name="T34" fmla="*/ 15 w 30"/>
                <a:gd name="T35" fmla="*/ 0 h 181"/>
                <a:gd name="T36" fmla="*/ 12 w 30"/>
                <a:gd name="T37" fmla="*/ 0 h 181"/>
                <a:gd name="T38" fmla="*/ 10 w 30"/>
                <a:gd name="T39" fmla="*/ 2 h 181"/>
                <a:gd name="T40" fmla="*/ 6 w 30"/>
                <a:gd name="T41" fmla="*/ 3 h 181"/>
                <a:gd name="T42" fmla="*/ 4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4 w 30"/>
                <a:gd name="T61" fmla="*/ 176 h 181"/>
                <a:gd name="T62" fmla="*/ 6 w 30"/>
                <a:gd name="T63" fmla="*/ 179 h 181"/>
                <a:gd name="T64" fmla="*/ 10 w 30"/>
                <a:gd name="T65" fmla="*/ 180 h 181"/>
                <a:gd name="T66" fmla="*/ 12 w 30"/>
                <a:gd name="T67" fmla="*/ 181 h 181"/>
                <a:gd name="T68" fmla="*/ 15 w 30"/>
                <a:gd name="T6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8" y="181"/>
                  </a:lnTo>
                  <a:lnTo>
                    <a:pt x="21" y="180"/>
                  </a:lnTo>
                  <a:lnTo>
                    <a:pt x="24" y="179"/>
                  </a:lnTo>
                  <a:lnTo>
                    <a:pt x="26" y="176"/>
                  </a:lnTo>
                  <a:lnTo>
                    <a:pt x="28" y="174"/>
                  </a:lnTo>
                  <a:lnTo>
                    <a:pt x="29" y="172"/>
                  </a:lnTo>
                  <a:lnTo>
                    <a:pt x="30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9"/>
                  </a:lnTo>
                  <a:lnTo>
                    <a:pt x="10" y="180"/>
                  </a:lnTo>
                  <a:lnTo>
                    <a:pt x="12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713"/>
            <p:cNvSpPr/>
            <p:nvPr/>
          </p:nvSpPr>
          <p:spPr bwMode="auto">
            <a:xfrm>
              <a:off x="2674938" y="2151063"/>
              <a:ext cx="57150" cy="57150"/>
            </a:xfrm>
            <a:custGeom>
              <a:avLst/>
              <a:gdLst>
                <a:gd name="T0" fmla="*/ 0 w 181"/>
                <a:gd name="T1" fmla="*/ 91 h 182"/>
                <a:gd name="T2" fmla="*/ 1 w 181"/>
                <a:gd name="T3" fmla="*/ 100 h 182"/>
                <a:gd name="T4" fmla="*/ 2 w 181"/>
                <a:gd name="T5" fmla="*/ 110 h 182"/>
                <a:gd name="T6" fmla="*/ 4 w 181"/>
                <a:gd name="T7" fmla="*/ 118 h 182"/>
                <a:gd name="T8" fmla="*/ 7 w 181"/>
                <a:gd name="T9" fmla="*/ 126 h 182"/>
                <a:gd name="T10" fmla="*/ 11 w 181"/>
                <a:gd name="T11" fmla="*/ 134 h 182"/>
                <a:gd name="T12" fmla="*/ 16 w 181"/>
                <a:gd name="T13" fmla="*/ 142 h 182"/>
                <a:gd name="T14" fmla="*/ 21 w 181"/>
                <a:gd name="T15" fmla="*/ 148 h 182"/>
                <a:gd name="T16" fmla="*/ 26 w 181"/>
                <a:gd name="T17" fmla="*/ 155 h 182"/>
                <a:gd name="T18" fmla="*/ 33 w 181"/>
                <a:gd name="T19" fmla="*/ 161 h 182"/>
                <a:gd name="T20" fmla="*/ 40 w 181"/>
                <a:gd name="T21" fmla="*/ 165 h 182"/>
                <a:gd name="T22" fmla="*/ 47 w 181"/>
                <a:gd name="T23" fmla="*/ 171 h 182"/>
                <a:gd name="T24" fmla="*/ 55 w 181"/>
                <a:gd name="T25" fmla="*/ 174 h 182"/>
                <a:gd name="T26" fmla="*/ 64 w 181"/>
                <a:gd name="T27" fmla="*/ 177 h 182"/>
                <a:gd name="T28" fmla="*/ 73 w 181"/>
                <a:gd name="T29" fmla="*/ 179 h 182"/>
                <a:gd name="T30" fmla="*/ 81 w 181"/>
                <a:gd name="T31" fmla="*/ 181 h 182"/>
                <a:gd name="T32" fmla="*/ 91 w 181"/>
                <a:gd name="T33" fmla="*/ 182 h 182"/>
                <a:gd name="T34" fmla="*/ 99 w 181"/>
                <a:gd name="T35" fmla="*/ 181 h 182"/>
                <a:gd name="T36" fmla="*/ 109 w 181"/>
                <a:gd name="T37" fmla="*/ 179 h 182"/>
                <a:gd name="T38" fmla="*/ 118 w 181"/>
                <a:gd name="T39" fmla="*/ 177 h 182"/>
                <a:gd name="T40" fmla="*/ 125 w 181"/>
                <a:gd name="T41" fmla="*/ 174 h 182"/>
                <a:gd name="T42" fmla="*/ 134 w 181"/>
                <a:gd name="T43" fmla="*/ 171 h 182"/>
                <a:gd name="T44" fmla="*/ 141 w 181"/>
                <a:gd name="T45" fmla="*/ 165 h 182"/>
                <a:gd name="T46" fmla="*/ 148 w 181"/>
                <a:gd name="T47" fmla="*/ 161 h 182"/>
                <a:gd name="T48" fmla="*/ 154 w 181"/>
                <a:gd name="T49" fmla="*/ 155 h 182"/>
                <a:gd name="T50" fmla="*/ 161 w 181"/>
                <a:gd name="T51" fmla="*/ 148 h 182"/>
                <a:gd name="T52" fmla="*/ 165 w 181"/>
                <a:gd name="T53" fmla="*/ 142 h 182"/>
                <a:gd name="T54" fmla="*/ 170 w 181"/>
                <a:gd name="T55" fmla="*/ 134 h 182"/>
                <a:gd name="T56" fmla="*/ 173 w 181"/>
                <a:gd name="T57" fmla="*/ 126 h 182"/>
                <a:gd name="T58" fmla="*/ 177 w 181"/>
                <a:gd name="T59" fmla="*/ 118 h 182"/>
                <a:gd name="T60" fmla="*/ 179 w 181"/>
                <a:gd name="T61" fmla="*/ 110 h 182"/>
                <a:gd name="T62" fmla="*/ 180 w 181"/>
                <a:gd name="T63" fmla="*/ 100 h 182"/>
                <a:gd name="T64" fmla="*/ 181 w 181"/>
                <a:gd name="T65" fmla="*/ 91 h 182"/>
                <a:gd name="T66" fmla="*/ 181 w 181"/>
                <a:gd name="T67" fmla="*/ 0 h 182"/>
                <a:gd name="T68" fmla="*/ 0 w 181"/>
                <a:gd name="T69" fmla="*/ 0 h 182"/>
                <a:gd name="T70" fmla="*/ 0 w 181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182">
                  <a:moveTo>
                    <a:pt x="0" y="91"/>
                  </a:moveTo>
                  <a:lnTo>
                    <a:pt x="1" y="100"/>
                  </a:lnTo>
                  <a:lnTo>
                    <a:pt x="2" y="110"/>
                  </a:lnTo>
                  <a:lnTo>
                    <a:pt x="4" y="118"/>
                  </a:lnTo>
                  <a:lnTo>
                    <a:pt x="7" y="126"/>
                  </a:lnTo>
                  <a:lnTo>
                    <a:pt x="11" y="134"/>
                  </a:lnTo>
                  <a:lnTo>
                    <a:pt x="16" y="142"/>
                  </a:lnTo>
                  <a:lnTo>
                    <a:pt x="21" y="148"/>
                  </a:lnTo>
                  <a:lnTo>
                    <a:pt x="26" y="155"/>
                  </a:lnTo>
                  <a:lnTo>
                    <a:pt x="33" y="161"/>
                  </a:lnTo>
                  <a:lnTo>
                    <a:pt x="40" y="165"/>
                  </a:lnTo>
                  <a:lnTo>
                    <a:pt x="47" y="171"/>
                  </a:lnTo>
                  <a:lnTo>
                    <a:pt x="55" y="174"/>
                  </a:lnTo>
                  <a:lnTo>
                    <a:pt x="64" y="177"/>
                  </a:lnTo>
                  <a:lnTo>
                    <a:pt x="73" y="179"/>
                  </a:lnTo>
                  <a:lnTo>
                    <a:pt x="81" y="181"/>
                  </a:lnTo>
                  <a:lnTo>
                    <a:pt x="91" y="182"/>
                  </a:lnTo>
                  <a:lnTo>
                    <a:pt x="99" y="181"/>
                  </a:lnTo>
                  <a:lnTo>
                    <a:pt x="109" y="179"/>
                  </a:lnTo>
                  <a:lnTo>
                    <a:pt x="118" y="177"/>
                  </a:lnTo>
                  <a:lnTo>
                    <a:pt x="125" y="174"/>
                  </a:lnTo>
                  <a:lnTo>
                    <a:pt x="134" y="171"/>
                  </a:lnTo>
                  <a:lnTo>
                    <a:pt x="141" y="165"/>
                  </a:lnTo>
                  <a:lnTo>
                    <a:pt x="148" y="161"/>
                  </a:lnTo>
                  <a:lnTo>
                    <a:pt x="154" y="155"/>
                  </a:lnTo>
                  <a:lnTo>
                    <a:pt x="161" y="148"/>
                  </a:lnTo>
                  <a:lnTo>
                    <a:pt x="165" y="142"/>
                  </a:lnTo>
                  <a:lnTo>
                    <a:pt x="170" y="134"/>
                  </a:lnTo>
                  <a:lnTo>
                    <a:pt x="173" y="126"/>
                  </a:lnTo>
                  <a:lnTo>
                    <a:pt x="177" y="118"/>
                  </a:lnTo>
                  <a:lnTo>
                    <a:pt x="179" y="110"/>
                  </a:lnTo>
                  <a:lnTo>
                    <a:pt x="180" y="100"/>
                  </a:lnTo>
                  <a:lnTo>
                    <a:pt x="181" y="91"/>
                  </a:lnTo>
                  <a:lnTo>
                    <a:pt x="181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714"/>
            <p:cNvSpPr/>
            <p:nvPr/>
          </p:nvSpPr>
          <p:spPr bwMode="auto">
            <a:xfrm>
              <a:off x="2674938" y="1920875"/>
              <a:ext cx="57150" cy="192088"/>
            </a:xfrm>
            <a:custGeom>
              <a:avLst/>
              <a:gdLst>
                <a:gd name="T0" fmla="*/ 163 w 181"/>
                <a:gd name="T1" fmla="*/ 0 h 602"/>
                <a:gd name="T2" fmla="*/ 157 w 181"/>
                <a:gd name="T3" fmla="*/ 3 h 602"/>
                <a:gd name="T4" fmla="*/ 153 w 181"/>
                <a:gd name="T5" fmla="*/ 7 h 602"/>
                <a:gd name="T6" fmla="*/ 151 w 181"/>
                <a:gd name="T7" fmla="*/ 12 h 602"/>
                <a:gd name="T8" fmla="*/ 151 w 181"/>
                <a:gd name="T9" fmla="*/ 211 h 602"/>
                <a:gd name="T10" fmla="*/ 150 w 181"/>
                <a:gd name="T11" fmla="*/ 222 h 602"/>
                <a:gd name="T12" fmla="*/ 146 w 181"/>
                <a:gd name="T13" fmla="*/ 234 h 602"/>
                <a:gd name="T14" fmla="*/ 140 w 181"/>
                <a:gd name="T15" fmla="*/ 245 h 602"/>
                <a:gd name="T16" fmla="*/ 133 w 181"/>
                <a:gd name="T17" fmla="*/ 254 h 602"/>
                <a:gd name="T18" fmla="*/ 124 w 181"/>
                <a:gd name="T19" fmla="*/ 261 h 602"/>
                <a:gd name="T20" fmla="*/ 113 w 181"/>
                <a:gd name="T21" fmla="*/ 266 h 602"/>
                <a:gd name="T22" fmla="*/ 103 w 181"/>
                <a:gd name="T23" fmla="*/ 270 h 602"/>
                <a:gd name="T24" fmla="*/ 91 w 181"/>
                <a:gd name="T25" fmla="*/ 271 h 602"/>
                <a:gd name="T26" fmla="*/ 78 w 181"/>
                <a:gd name="T27" fmla="*/ 270 h 602"/>
                <a:gd name="T28" fmla="*/ 67 w 181"/>
                <a:gd name="T29" fmla="*/ 266 h 602"/>
                <a:gd name="T30" fmla="*/ 57 w 181"/>
                <a:gd name="T31" fmla="*/ 261 h 602"/>
                <a:gd name="T32" fmla="*/ 48 w 181"/>
                <a:gd name="T33" fmla="*/ 254 h 602"/>
                <a:gd name="T34" fmla="*/ 40 w 181"/>
                <a:gd name="T35" fmla="*/ 245 h 602"/>
                <a:gd name="T36" fmla="*/ 35 w 181"/>
                <a:gd name="T37" fmla="*/ 234 h 602"/>
                <a:gd name="T38" fmla="*/ 32 w 181"/>
                <a:gd name="T39" fmla="*/ 224 h 602"/>
                <a:gd name="T40" fmla="*/ 30 w 181"/>
                <a:gd name="T41" fmla="*/ 211 h 602"/>
                <a:gd name="T42" fmla="*/ 30 w 181"/>
                <a:gd name="T43" fmla="*/ 12 h 602"/>
                <a:gd name="T44" fmla="*/ 28 w 181"/>
                <a:gd name="T45" fmla="*/ 7 h 602"/>
                <a:gd name="T46" fmla="*/ 23 w 181"/>
                <a:gd name="T47" fmla="*/ 3 h 602"/>
                <a:gd name="T48" fmla="*/ 18 w 181"/>
                <a:gd name="T49" fmla="*/ 0 h 602"/>
                <a:gd name="T50" fmla="*/ 13 w 181"/>
                <a:gd name="T51" fmla="*/ 0 h 602"/>
                <a:gd name="T52" fmla="*/ 7 w 181"/>
                <a:gd name="T53" fmla="*/ 3 h 602"/>
                <a:gd name="T54" fmla="*/ 3 w 181"/>
                <a:gd name="T55" fmla="*/ 7 h 602"/>
                <a:gd name="T56" fmla="*/ 1 w 181"/>
                <a:gd name="T57" fmla="*/ 12 h 602"/>
                <a:gd name="T58" fmla="*/ 0 w 181"/>
                <a:gd name="T59" fmla="*/ 211 h 602"/>
                <a:gd name="T60" fmla="*/ 181 w 181"/>
                <a:gd name="T61" fmla="*/ 602 h 602"/>
                <a:gd name="T62" fmla="*/ 181 w 181"/>
                <a:gd name="T63" fmla="*/ 15 h 602"/>
                <a:gd name="T64" fmla="*/ 180 w 181"/>
                <a:gd name="T65" fmla="*/ 9 h 602"/>
                <a:gd name="T66" fmla="*/ 177 w 181"/>
                <a:gd name="T67" fmla="*/ 5 h 602"/>
                <a:gd name="T68" fmla="*/ 171 w 181"/>
                <a:gd name="T69" fmla="*/ 2 h 602"/>
                <a:gd name="T70" fmla="*/ 166 w 181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602">
                  <a:moveTo>
                    <a:pt x="166" y="0"/>
                  </a:moveTo>
                  <a:lnTo>
                    <a:pt x="163" y="0"/>
                  </a:lnTo>
                  <a:lnTo>
                    <a:pt x="159" y="2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153" y="7"/>
                  </a:lnTo>
                  <a:lnTo>
                    <a:pt x="152" y="9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211"/>
                  </a:lnTo>
                  <a:lnTo>
                    <a:pt x="150" y="217"/>
                  </a:lnTo>
                  <a:lnTo>
                    <a:pt x="150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3" y="240"/>
                  </a:lnTo>
                  <a:lnTo>
                    <a:pt x="140" y="245"/>
                  </a:lnTo>
                  <a:lnTo>
                    <a:pt x="137" y="249"/>
                  </a:lnTo>
                  <a:lnTo>
                    <a:pt x="133" y="254"/>
                  </a:lnTo>
                  <a:lnTo>
                    <a:pt x="128" y="258"/>
                  </a:lnTo>
                  <a:lnTo>
                    <a:pt x="124" y="261"/>
                  </a:lnTo>
                  <a:lnTo>
                    <a:pt x="119" y="264"/>
                  </a:lnTo>
                  <a:lnTo>
                    <a:pt x="113" y="266"/>
                  </a:lnTo>
                  <a:lnTo>
                    <a:pt x="108" y="269"/>
                  </a:lnTo>
                  <a:lnTo>
                    <a:pt x="103" y="270"/>
                  </a:lnTo>
                  <a:lnTo>
                    <a:pt x="96" y="271"/>
                  </a:lnTo>
                  <a:lnTo>
                    <a:pt x="91" y="271"/>
                  </a:lnTo>
                  <a:lnTo>
                    <a:pt x="84" y="271"/>
                  </a:lnTo>
                  <a:lnTo>
                    <a:pt x="78" y="270"/>
                  </a:lnTo>
                  <a:lnTo>
                    <a:pt x="73" y="269"/>
                  </a:lnTo>
                  <a:lnTo>
                    <a:pt x="67" y="266"/>
                  </a:lnTo>
                  <a:lnTo>
                    <a:pt x="62" y="264"/>
                  </a:lnTo>
                  <a:lnTo>
                    <a:pt x="57" y="261"/>
                  </a:lnTo>
                  <a:lnTo>
                    <a:pt x="52" y="258"/>
                  </a:lnTo>
                  <a:lnTo>
                    <a:pt x="48" y="254"/>
                  </a:lnTo>
                  <a:lnTo>
                    <a:pt x="44" y="249"/>
                  </a:lnTo>
                  <a:lnTo>
                    <a:pt x="40" y="245"/>
                  </a:lnTo>
                  <a:lnTo>
                    <a:pt x="37" y="240"/>
                  </a:lnTo>
                  <a:lnTo>
                    <a:pt x="35" y="234"/>
                  </a:lnTo>
                  <a:lnTo>
                    <a:pt x="33" y="229"/>
                  </a:lnTo>
                  <a:lnTo>
                    <a:pt x="32" y="224"/>
                  </a:lnTo>
                  <a:lnTo>
                    <a:pt x="31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1" y="602"/>
                  </a:lnTo>
                  <a:lnTo>
                    <a:pt x="181" y="211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7" y="5"/>
                  </a:lnTo>
                  <a:lnTo>
                    <a:pt x="174" y="3"/>
                  </a:lnTo>
                  <a:lnTo>
                    <a:pt x="171" y="2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Rectangle 715"/>
            <p:cNvSpPr>
              <a:spLocks noChangeArrowheads="1"/>
            </p:cNvSpPr>
            <p:nvPr/>
          </p:nvSpPr>
          <p:spPr bwMode="auto">
            <a:xfrm>
              <a:off x="2674938" y="2122488"/>
              <a:ext cx="571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6" name="Freeform 716"/>
            <p:cNvSpPr/>
            <p:nvPr/>
          </p:nvSpPr>
          <p:spPr bwMode="auto">
            <a:xfrm>
              <a:off x="2698750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7 w 30"/>
                <a:gd name="T3" fmla="*/ 181 h 181"/>
                <a:gd name="T4" fmla="*/ 20 w 30"/>
                <a:gd name="T5" fmla="*/ 180 h 181"/>
                <a:gd name="T6" fmla="*/ 22 w 30"/>
                <a:gd name="T7" fmla="*/ 179 h 181"/>
                <a:gd name="T8" fmla="*/ 26 w 30"/>
                <a:gd name="T9" fmla="*/ 176 h 181"/>
                <a:gd name="T10" fmla="*/ 27 w 30"/>
                <a:gd name="T11" fmla="*/ 174 h 181"/>
                <a:gd name="T12" fmla="*/ 29 w 30"/>
                <a:gd name="T13" fmla="*/ 172 h 181"/>
                <a:gd name="T14" fmla="*/ 29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29 w 30"/>
                <a:gd name="T21" fmla="*/ 12 h 181"/>
                <a:gd name="T22" fmla="*/ 29 w 30"/>
                <a:gd name="T23" fmla="*/ 9 h 181"/>
                <a:gd name="T24" fmla="*/ 27 w 30"/>
                <a:gd name="T25" fmla="*/ 7 h 181"/>
                <a:gd name="T26" fmla="*/ 26 w 30"/>
                <a:gd name="T27" fmla="*/ 5 h 181"/>
                <a:gd name="T28" fmla="*/ 22 w 30"/>
                <a:gd name="T29" fmla="*/ 3 h 181"/>
                <a:gd name="T30" fmla="*/ 20 w 30"/>
                <a:gd name="T31" fmla="*/ 2 h 181"/>
                <a:gd name="T32" fmla="*/ 17 w 30"/>
                <a:gd name="T33" fmla="*/ 0 h 181"/>
                <a:gd name="T34" fmla="*/ 15 w 30"/>
                <a:gd name="T35" fmla="*/ 0 h 181"/>
                <a:gd name="T36" fmla="*/ 12 w 30"/>
                <a:gd name="T37" fmla="*/ 0 h 181"/>
                <a:gd name="T38" fmla="*/ 8 w 30"/>
                <a:gd name="T39" fmla="*/ 2 h 181"/>
                <a:gd name="T40" fmla="*/ 6 w 30"/>
                <a:gd name="T41" fmla="*/ 3 h 181"/>
                <a:gd name="T42" fmla="*/ 4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4 w 30"/>
                <a:gd name="T61" fmla="*/ 176 h 181"/>
                <a:gd name="T62" fmla="*/ 6 w 30"/>
                <a:gd name="T63" fmla="*/ 179 h 181"/>
                <a:gd name="T64" fmla="*/ 8 w 30"/>
                <a:gd name="T65" fmla="*/ 180 h 181"/>
                <a:gd name="T66" fmla="*/ 12 w 30"/>
                <a:gd name="T67" fmla="*/ 181 h 181"/>
                <a:gd name="T68" fmla="*/ 15 w 30"/>
                <a:gd name="T69" fmla="*/ 181 h 181"/>
                <a:gd name="T70" fmla="*/ 15 w 30"/>
                <a:gd name="T7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7" y="181"/>
                  </a:lnTo>
                  <a:lnTo>
                    <a:pt x="20" y="180"/>
                  </a:lnTo>
                  <a:lnTo>
                    <a:pt x="22" y="179"/>
                  </a:lnTo>
                  <a:lnTo>
                    <a:pt x="26" y="176"/>
                  </a:lnTo>
                  <a:lnTo>
                    <a:pt x="27" y="174"/>
                  </a:lnTo>
                  <a:lnTo>
                    <a:pt x="29" y="172"/>
                  </a:lnTo>
                  <a:lnTo>
                    <a:pt x="29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2" y="3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9"/>
                  </a:lnTo>
                  <a:lnTo>
                    <a:pt x="8" y="180"/>
                  </a:lnTo>
                  <a:lnTo>
                    <a:pt x="12" y="181"/>
                  </a:lnTo>
                  <a:lnTo>
                    <a:pt x="15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717"/>
            <p:cNvSpPr/>
            <p:nvPr/>
          </p:nvSpPr>
          <p:spPr bwMode="auto">
            <a:xfrm>
              <a:off x="2608263" y="1920875"/>
              <a:ext cx="57150" cy="192088"/>
            </a:xfrm>
            <a:custGeom>
              <a:avLst/>
              <a:gdLst>
                <a:gd name="T0" fmla="*/ 162 w 181"/>
                <a:gd name="T1" fmla="*/ 0 h 602"/>
                <a:gd name="T2" fmla="*/ 157 w 181"/>
                <a:gd name="T3" fmla="*/ 3 h 602"/>
                <a:gd name="T4" fmla="*/ 154 w 181"/>
                <a:gd name="T5" fmla="*/ 7 h 602"/>
                <a:gd name="T6" fmla="*/ 152 w 181"/>
                <a:gd name="T7" fmla="*/ 12 h 602"/>
                <a:gd name="T8" fmla="*/ 151 w 181"/>
                <a:gd name="T9" fmla="*/ 211 h 602"/>
                <a:gd name="T10" fmla="*/ 150 w 181"/>
                <a:gd name="T11" fmla="*/ 222 h 602"/>
                <a:gd name="T12" fmla="*/ 146 w 181"/>
                <a:gd name="T13" fmla="*/ 234 h 602"/>
                <a:gd name="T14" fmla="*/ 141 w 181"/>
                <a:gd name="T15" fmla="*/ 245 h 602"/>
                <a:gd name="T16" fmla="*/ 133 w 181"/>
                <a:gd name="T17" fmla="*/ 254 h 602"/>
                <a:gd name="T18" fmla="*/ 125 w 181"/>
                <a:gd name="T19" fmla="*/ 261 h 602"/>
                <a:gd name="T20" fmla="*/ 114 w 181"/>
                <a:gd name="T21" fmla="*/ 266 h 602"/>
                <a:gd name="T22" fmla="*/ 102 w 181"/>
                <a:gd name="T23" fmla="*/ 270 h 602"/>
                <a:gd name="T24" fmla="*/ 91 w 181"/>
                <a:gd name="T25" fmla="*/ 271 h 602"/>
                <a:gd name="T26" fmla="*/ 79 w 181"/>
                <a:gd name="T27" fmla="*/ 270 h 602"/>
                <a:gd name="T28" fmla="*/ 67 w 181"/>
                <a:gd name="T29" fmla="*/ 266 h 602"/>
                <a:gd name="T30" fmla="*/ 57 w 181"/>
                <a:gd name="T31" fmla="*/ 261 h 602"/>
                <a:gd name="T32" fmla="*/ 48 w 181"/>
                <a:gd name="T33" fmla="*/ 254 h 602"/>
                <a:gd name="T34" fmla="*/ 41 w 181"/>
                <a:gd name="T35" fmla="*/ 245 h 602"/>
                <a:gd name="T36" fmla="*/ 35 w 181"/>
                <a:gd name="T37" fmla="*/ 234 h 602"/>
                <a:gd name="T38" fmla="*/ 32 w 181"/>
                <a:gd name="T39" fmla="*/ 224 h 602"/>
                <a:gd name="T40" fmla="*/ 30 w 181"/>
                <a:gd name="T41" fmla="*/ 211 h 602"/>
                <a:gd name="T42" fmla="*/ 30 w 181"/>
                <a:gd name="T43" fmla="*/ 12 h 602"/>
                <a:gd name="T44" fmla="*/ 28 w 181"/>
                <a:gd name="T45" fmla="*/ 7 h 602"/>
                <a:gd name="T46" fmla="*/ 24 w 181"/>
                <a:gd name="T47" fmla="*/ 3 h 602"/>
                <a:gd name="T48" fmla="*/ 19 w 181"/>
                <a:gd name="T49" fmla="*/ 0 h 602"/>
                <a:gd name="T50" fmla="*/ 12 w 181"/>
                <a:gd name="T51" fmla="*/ 0 h 602"/>
                <a:gd name="T52" fmla="*/ 7 w 181"/>
                <a:gd name="T53" fmla="*/ 3 h 602"/>
                <a:gd name="T54" fmla="*/ 3 w 181"/>
                <a:gd name="T55" fmla="*/ 7 h 602"/>
                <a:gd name="T56" fmla="*/ 0 w 181"/>
                <a:gd name="T57" fmla="*/ 12 h 602"/>
                <a:gd name="T58" fmla="*/ 0 w 181"/>
                <a:gd name="T59" fmla="*/ 211 h 602"/>
                <a:gd name="T60" fmla="*/ 181 w 181"/>
                <a:gd name="T61" fmla="*/ 602 h 602"/>
                <a:gd name="T62" fmla="*/ 181 w 181"/>
                <a:gd name="T63" fmla="*/ 15 h 602"/>
                <a:gd name="T64" fmla="*/ 180 w 181"/>
                <a:gd name="T65" fmla="*/ 9 h 602"/>
                <a:gd name="T66" fmla="*/ 176 w 181"/>
                <a:gd name="T67" fmla="*/ 5 h 602"/>
                <a:gd name="T68" fmla="*/ 172 w 181"/>
                <a:gd name="T69" fmla="*/ 2 h 602"/>
                <a:gd name="T70" fmla="*/ 166 w 181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602">
                  <a:moveTo>
                    <a:pt x="166" y="0"/>
                  </a:moveTo>
                  <a:lnTo>
                    <a:pt x="162" y="0"/>
                  </a:lnTo>
                  <a:lnTo>
                    <a:pt x="160" y="2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154" y="7"/>
                  </a:lnTo>
                  <a:lnTo>
                    <a:pt x="152" y="9"/>
                  </a:lnTo>
                  <a:lnTo>
                    <a:pt x="152" y="12"/>
                  </a:lnTo>
                  <a:lnTo>
                    <a:pt x="151" y="15"/>
                  </a:lnTo>
                  <a:lnTo>
                    <a:pt x="151" y="211"/>
                  </a:lnTo>
                  <a:lnTo>
                    <a:pt x="151" y="217"/>
                  </a:lnTo>
                  <a:lnTo>
                    <a:pt x="150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3" y="240"/>
                  </a:lnTo>
                  <a:lnTo>
                    <a:pt x="141" y="245"/>
                  </a:lnTo>
                  <a:lnTo>
                    <a:pt x="137" y="249"/>
                  </a:lnTo>
                  <a:lnTo>
                    <a:pt x="133" y="254"/>
                  </a:lnTo>
                  <a:lnTo>
                    <a:pt x="129" y="258"/>
                  </a:lnTo>
                  <a:lnTo>
                    <a:pt x="125" y="261"/>
                  </a:lnTo>
                  <a:lnTo>
                    <a:pt x="120" y="264"/>
                  </a:lnTo>
                  <a:lnTo>
                    <a:pt x="114" y="266"/>
                  </a:lnTo>
                  <a:lnTo>
                    <a:pt x="109" y="269"/>
                  </a:lnTo>
                  <a:lnTo>
                    <a:pt x="102" y="270"/>
                  </a:lnTo>
                  <a:lnTo>
                    <a:pt x="97" y="271"/>
                  </a:lnTo>
                  <a:lnTo>
                    <a:pt x="91" y="271"/>
                  </a:lnTo>
                  <a:lnTo>
                    <a:pt x="84" y="271"/>
                  </a:lnTo>
                  <a:lnTo>
                    <a:pt x="79" y="270"/>
                  </a:lnTo>
                  <a:lnTo>
                    <a:pt x="72" y="269"/>
                  </a:lnTo>
                  <a:lnTo>
                    <a:pt x="67" y="266"/>
                  </a:lnTo>
                  <a:lnTo>
                    <a:pt x="62" y="264"/>
                  </a:lnTo>
                  <a:lnTo>
                    <a:pt x="57" y="261"/>
                  </a:lnTo>
                  <a:lnTo>
                    <a:pt x="52" y="258"/>
                  </a:lnTo>
                  <a:lnTo>
                    <a:pt x="48" y="254"/>
                  </a:lnTo>
                  <a:lnTo>
                    <a:pt x="44" y="249"/>
                  </a:lnTo>
                  <a:lnTo>
                    <a:pt x="41" y="245"/>
                  </a:lnTo>
                  <a:lnTo>
                    <a:pt x="38" y="240"/>
                  </a:lnTo>
                  <a:lnTo>
                    <a:pt x="35" y="234"/>
                  </a:lnTo>
                  <a:lnTo>
                    <a:pt x="33" y="229"/>
                  </a:lnTo>
                  <a:lnTo>
                    <a:pt x="32" y="224"/>
                  </a:lnTo>
                  <a:lnTo>
                    <a:pt x="30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2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1" y="602"/>
                  </a:lnTo>
                  <a:lnTo>
                    <a:pt x="181" y="211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Rectangle 718"/>
            <p:cNvSpPr>
              <a:spLocks noChangeArrowheads="1"/>
            </p:cNvSpPr>
            <p:nvPr/>
          </p:nvSpPr>
          <p:spPr bwMode="auto">
            <a:xfrm>
              <a:off x="2608263" y="2122488"/>
              <a:ext cx="571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719"/>
            <p:cNvSpPr/>
            <p:nvPr/>
          </p:nvSpPr>
          <p:spPr bwMode="auto">
            <a:xfrm>
              <a:off x="2608263" y="2151063"/>
              <a:ext cx="57150" cy="57150"/>
            </a:xfrm>
            <a:custGeom>
              <a:avLst/>
              <a:gdLst>
                <a:gd name="T0" fmla="*/ 0 w 181"/>
                <a:gd name="T1" fmla="*/ 91 h 182"/>
                <a:gd name="T2" fmla="*/ 0 w 181"/>
                <a:gd name="T3" fmla="*/ 100 h 182"/>
                <a:gd name="T4" fmla="*/ 3 w 181"/>
                <a:gd name="T5" fmla="*/ 110 h 182"/>
                <a:gd name="T6" fmla="*/ 5 w 181"/>
                <a:gd name="T7" fmla="*/ 118 h 182"/>
                <a:gd name="T8" fmla="*/ 8 w 181"/>
                <a:gd name="T9" fmla="*/ 126 h 182"/>
                <a:gd name="T10" fmla="*/ 11 w 181"/>
                <a:gd name="T11" fmla="*/ 134 h 182"/>
                <a:gd name="T12" fmla="*/ 15 w 181"/>
                <a:gd name="T13" fmla="*/ 142 h 182"/>
                <a:gd name="T14" fmla="*/ 21 w 181"/>
                <a:gd name="T15" fmla="*/ 148 h 182"/>
                <a:gd name="T16" fmla="*/ 27 w 181"/>
                <a:gd name="T17" fmla="*/ 155 h 182"/>
                <a:gd name="T18" fmla="*/ 34 w 181"/>
                <a:gd name="T19" fmla="*/ 161 h 182"/>
                <a:gd name="T20" fmla="*/ 40 w 181"/>
                <a:gd name="T21" fmla="*/ 165 h 182"/>
                <a:gd name="T22" fmla="*/ 48 w 181"/>
                <a:gd name="T23" fmla="*/ 171 h 182"/>
                <a:gd name="T24" fmla="*/ 55 w 181"/>
                <a:gd name="T25" fmla="*/ 174 h 182"/>
                <a:gd name="T26" fmla="*/ 64 w 181"/>
                <a:gd name="T27" fmla="*/ 177 h 182"/>
                <a:gd name="T28" fmla="*/ 72 w 181"/>
                <a:gd name="T29" fmla="*/ 179 h 182"/>
                <a:gd name="T30" fmla="*/ 82 w 181"/>
                <a:gd name="T31" fmla="*/ 181 h 182"/>
                <a:gd name="T32" fmla="*/ 91 w 181"/>
                <a:gd name="T33" fmla="*/ 182 h 182"/>
                <a:gd name="T34" fmla="*/ 100 w 181"/>
                <a:gd name="T35" fmla="*/ 181 h 182"/>
                <a:gd name="T36" fmla="*/ 109 w 181"/>
                <a:gd name="T37" fmla="*/ 179 h 182"/>
                <a:gd name="T38" fmla="*/ 117 w 181"/>
                <a:gd name="T39" fmla="*/ 177 h 182"/>
                <a:gd name="T40" fmla="*/ 126 w 181"/>
                <a:gd name="T41" fmla="*/ 174 h 182"/>
                <a:gd name="T42" fmla="*/ 133 w 181"/>
                <a:gd name="T43" fmla="*/ 171 h 182"/>
                <a:gd name="T44" fmla="*/ 141 w 181"/>
                <a:gd name="T45" fmla="*/ 165 h 182"/>
                <a:gd name="T46" fmla="*/ 148 w 181"/>
                <a:gd name="T47" fmla="*/ 161 h 182"/>
                <a:gd name="T48" fmla="*/ 155 w 181"/>
                <a:gd name="T49" fmla="*/ 155 h 182"/>
                <a:gd name="T50" fmla="*/ 160 w 181"/>
                <a:gd name="T51" fmla="*/ 148 h 182"/>
                <a:gd name="T52" fmla="*/ 166 w 181"/>
                <a:gd name="T53" fmla="*/ 142 h 182"/>
                <a:gd name="T54" fmla="*/ 170 w 181"/>
                <a:gd name="T55" fmla="*/ 134 h 182"/>
                <a:gd name="T56" fmla="*/ 174 w 181"/>
                <a:gd name="T57" fmla="*/ 126 h 182"/>
                <a:gd name="T58" fmla="*/ 177 w 181"/>
                <a:gd name="T59" fmla="*/ 118 h 182"/>
                <a:gd name="T60" fmla="*/ 180 w 181"/>
                <a:gd name="T61" fmla="*/ 110 h 182"/>
                <a:gd name="T62" fmla="*/ 181 w 181"/>
                <a:gd name="T63" fmla="*/ 100 h 182"/>
                <a:gd name="T64" fmla="*/ 181 w 181"/>
                <a:gd name="T65" fmla="*/ 91 h 182"/>
                <a:gd name="T66" fmla="*/ 181 w 181"/>
                <a:gd name="T67" fmla="*/ 0 h 182"/>
                <a:gd name="T68" fmla="*/ 0 w 181"/>
                <a:gd name="T69" fmla="*/ 0 h 182"/>
                <a:gd name="T70" fmla="*/ 0 w 181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182">
                  <a:moveTo>
                    <a:pt x="0" y="91"/>
                  </a:moveTo>
                  <a:lnTo>
                    <a:pt x="0" y="100"/>
                  </a:lnTo>
                  <a:lnTo>
                    <a:pt x="3" y="110"/>
                  </a:lnTo>
                  <a:lnTo>
                    <a:pt x="5" y="118"/>
                  </a:lnTo>
                  <a:lnTo>
                    <a:pt x="8" y="126"/>
                  </a:lnTo>
                  <a:lnTo>
                    <a:pt x="11" y="134"/>
                  </a:lnTo>
                  <a:lnTo>
                    <a:pt x="15" y="142"/>
                  </a:lnTo>
                  <a:lnTo>
                    <a:pt x="21" y="148"/>
                  </a:lnTo>
                  <a:lnTo>
                    <a:pt x="27" y="155"/>
                  </a:lnTo>
                  <a:lnTo>
                    <a:pt x="34" y="161"/>
                  </a:lnTo>
                  <a:lnTo>
                    <a:pt x="40" y="165"/>
                  </a:lnTo>
                  <a:lnTo>
                    <a:pt x="48" y="171"/>
                  </a:lnTo>
                  <a:lnTo>
                    <a:pt x="55" y="174"/>
                  </a:lnTo>
                  <a:lnTo>
                    <a:pt x="64" y="177"/>
                  </a:lnTo>
                  <a:lnTo>
                    <a:pt x="72" y="179"/>
                  </a:lnTo>
                  <a:lnTo>
                    <a:pt x="82" y="181"/>
                  </a:lnTo>
                  <a:lnTo>
                    <a:pt x="91" y="182"/>
                  </a:lnTo>
                  <a:lnTo>
                    <a:pt x="100" y="181"/>
                  </a:lnTo>
                  <a:lnTo>
                    <a:pt x="109" y="179"/>
                  </a:lnTo>
                  <a:lnTo>
                    <a:pt x="117" y="177"/>
                  </a:lnTo>
                  <a:lnTo>
                    <a:pt x="126" y="174"/>
                  </a:lnTo>
                  <a:lnTo>
                    <a:pt x="133" y="171"/>
                  </a:lnTo>
                  <a:lnTo>
                    <a:pt x="141" y="165"/>
                  </a:lnTo>
                  <a:lnTo>
                    <a:pt x="148" y="161"/>
                  </a:lnTo>
                  <a:lnTo>
                    <a:pt x="155" y="155"/>
                  </a:lnTo>
                  <a:lnTo>
                    <a:pt x="160" y="148"/>
                  </a:lnTo>
                  <a:lnTo>
                    <a:pt x="166" y="142"/>
                  </a:lnTo>
                  <a:lnTo>
                    <a:pt x="170" y="134"/>
                  </a:lnTo>
                  <a:lnTo>
                    <a:pt x="174" y="126"/>
                  </a:lnTo>
                  <a:lnTo>
                    <a:pt x="177" y="118"/>
                  </a:lnTo>
                  <a:lnTo>
                    <a:pt x="180" y="110"/>
                  </a:lnTo>
                  <a:lnTo>
                    <a:pt x="181" y="100"/>
                  </a:lnTo>
                  <a:lnTo>
                    <a:pt x="181" y="91"/>
                  </a:lnTo>
                  <a:lnTo>
                    <a:pt x="181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720"/>
            <p:cNvSpPr/>
            <p:nvPr/>
          </p:nvSpPr>
          <p:spPr bwMode="auto">
            <a:xfrm>
              <a:off x="2632075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8 w 30"/>
                <a:gd name="T3" fmla="*/ 181 h 181"/>
                <a:gd name="T4" fmla="*/ 21 w 30"/>
                <a:gd name="T5" fmla="*/ 180 h 181"/>
                <a:gd name="T6" fmla="*/ 23 w 30"/>
                <a:gd name="T7" fmla="*/ 179 h 181"/>
                <a:gd name="T8" fmla="*/ 25 w 30"/>
                <a:gd name="T9" fmla="*/ 176 h 181"/>
                <a:gd name="T10" fmla="*/ 27 w 30"/>
                <a:gd name="T11" fmla="*/ 174 h 181"/>
                <a:gd name="T12" fmla="*/ 28 w 30"/>
                <a:gd name="T13" fmla="*/ 172 h 181"/>
                <a:gd name="T14" fmla="*/ 30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30 w 30"/>
                <a:gd name="T21" fmla="*/ 12 h 181"/>
                <a:gd name="T22" fmla="*/ 28 w 30"/>
                <a:gd name="T23" fmla="*/ 9 h 181"/>
                <a:gd name="T24" fmla="*/ 27 w 30"/>
                <a:gd name="T25" fmla="*/ 7 h 181"/>
                <a:gd name="T26" fmla="*/ 25 w 30"/>
                <a:gd name="T27" fmla="*/ 5 h 181"/>
                <a:gd name="T28" fmla="*/ 23 w 30"/>
                <a:gd name="T29" fmla="*/ 3 h 181"/>
                <a:gd name="T30" fmla="*/ 21 w 30"/>
                <a:gd name="T31" fmla="*/ 2 h 181"/>
                <a:gd name="T32" fmla="*/ 18 w 30"/>
                <a:gd name="T33" fmla="*/ 0 h 181"/>
                <a:gd name="T34" fmla="*/ 15 w 30"/>
                <a:gd name="T35" fmla="*/ 0 h 181"/>
                <a:gd name="T36" fmla="*/ 11 w 30"/>
                <a:gd name="T37" fmla="*/ 0 h 181"/>
                <a:gd name="T38" fmla="*/ 9 w 30"/>
                <a:gd name="T39" fmla="*/ 2 h 181"/>
                <a:gd name="T40" fmla="*/ 6 w 30"/>
                <a:gd name="T41" fmla="*/ 3 h 181"/>
                <a:gd name="T42" fmla="*/ 4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4 w 30"/>
                <a:gd name="T61" fmla="*/ 176 h 181"/>
                <a:gd name="T62" fmla="*/ 6 w 30"/>
                <a:gd name="T63" fmla="*/ 179 h 181"/>
                <a:gd name="T64" fmla="*/ 9 w 30"/>
                <a:gd name="T65" fmla="*/ 180 h 181"/>
                <a:gd name="T66" fmla="*/ 11 w 30"/>
                <a:gd name="T67" fmla="*/ 181 h 181"/>
                <a:gd name="T68" fmla="*/ 15 w 30"/>
                <a:gd name="T6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8" y="181"/>
                  </a:lnTo>
                  <a:lnTo>
                    <a:pt x="21" y="180"/>
                  </a:lnTo>
                  <a:lnTo>
                    <a:pt x="23" y="179"/>
                  </a:lnTo>
                  <a:lnTo>
                    <a:pt x="25" y="176"/>
                  </a:lnTo>
                  <a:lnTo>
                    <a:pt x="27" y="174"/>
                  </a:lnTo>
                  <a:lnTo>
                    <a:pt x="28" y="172"/>
                  </a:lnTo>
                  <a:lnTo>
                    <a:pt x="30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9"/>
                  </a:lnTo>
                  <a:lnTo>
                    <a:pt x="9" y="180"/>
                  </a:lnTo>
                  <a:lnTo>
                    <a:pt x="11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31" name="Freeform 2972"/>
          <p:cNvSpPr>
            <a:spLocks noEditPoints="1"/>
          </p:cNvSpPr>
          <p:nvPr/>
        </p:nvSpPr>
        <p:spPr bwMode="auto">
          <a:xfrm>
            <a:off x="3636378" y="3421213"/>
            <a:ext cx="284163" cy="266700"/>
          </a:xfrm>
          <a:custGeom>
            <a:avLst/>
            <a:gdLst>
              <a:gd name="T0" fmla="*/ 373 w 719"/>
              <a:gd name="T1" fmla="*/ 471 h 671"/>
              <a:gd name="T2" fmla="*/ 314 w 719"/>
              <a:gd name="T3" fmla="*/ 424 h 671"/>
              <a:gd name="T4" fmla="*/ 241 w 719"/>
              <a:gd name="T5" fmla="*/ 344 h 671"/>
              <a:gd name="T6" fmla="*/ 206 w 719"/>
              <a:gd name="T7" fmla="*/ 281 h 671"/>
              <a:gd name="T8" fmla="*/ 204 w 719"/>
              <a:gd name="T9" fmla="*/ 244 h 671"/>
              <a:gd name="T10" fmla="*/ 215 w 719"/>
              <a:gd name="T11" fmla="*/ 206 h 671"/>
              <a:gd name="T12" fmla="*/ 237 w 719"/>
              <a:gd name="T13" fmla="*/ 177 h 671"/>
              <a:gd name="T14" fmla="*/ 267 w 719"/>
              <a:gd name="T15" fmla="*/ 161 h 671"/>
              <a:gd name="T16" fmla="*/ 303 w 719"/>
              <a:gd name="T17" fmla="*/ 158 h 671"/>
              <a:gd name="T18" fmla="*/ 348 w 719"/>
              <a:gd name="T19" fmla="*/ 182 h 671"/>
              <a:gd name="T20" fmla="*/ 372 w 719"/>
              <a:gd name="T21" fmla="*/ 215 h 671"/>
              <a:gd name="T22" fmla="*/ 387 w 719"/>
              <a:gd name="T23" fmla="*/ 200 h 671"/>
              <a:gd name="T24" fmla="*/ 424 w 719"/>
              <a:gd name="T25" fmla="*/ 166 h 671"/>
              <a:gd name="T26" fmla="*/ 467 w 719"/>
              <a:gd name="T27" fmla="*/ 158 h 671"/>
              <a:gd name="T28" fmla="*/ 499 w 719"/>
              <a:gd name="T29" fmla="*/ 168 h 671"/>
              <a:gd name="T30" fmla="*/ 525 w 719"/>
              <a:gd name="T31" fmla="*/ 191 h 671"/>
              <a:gd name="T32" fmla="*/ 543 w 719"/>
              <a:gd name="T33" fmla="*/ 224 h 671"/>
              <a:gd name="T34" fmla="*/ 546 w 719"/>
              <a:gd name="T35" fmla="*/ 264 h 671"/>
              <a:gd name="T36" fmla="*/ 532 w 719"/>
              <a:gd name="T37" fmla="*/ 308 h 671"/>
              <a:gd name="T38" fmla="*/ 481 w 719"/>
              <a:gd name="T39" fmla="*/ 378 h 671"/>
              <a:gd name="T40" fmla="*/ 388 w 719"/>
              <a:gd name="T41" fmla="*/ 463 h 671"/>
              <a:gd name="T42" fmla="*/ 342 w 719"/>
              <a:gd name="T43" fmla="*/ 0 h 671"/>
              <a:gd name="T44" fmla="*/ 270 w 719"/>
              <a:gd name="T45" fmla="*/ 10 h 671"/>
              <a:gd name="T46" fmla="*/ 204 w 719"/>
              <a:gd name="T47" fmla="*/ 30 h 671"/>
              <a:gd name="T48" fmla="*/ 144 w 719"/>
              <a:gd name="T49" fmla="*/ 60 h 671"/>
              <a:gd name="T50" fmla="*/ 94 w 719"/>
              <a:gd name="T51" fmla="*/ 98 h 671"/>
              <a:gd name="T52" fmla="*/ 53 w 719"/>
              <a:gd name="T53" fmla="*/ 143 h 671"/>
              <a:gd name="T54" fmla="*/ 22 w 719"/>
              <a:gd name="T55" fmla="*/ 194 h 671"/>
              <a:gd name="T56" fmla="*/ 5 w 719"/>
              <a:gd name="T57" fmla="*/ 251 h 671"/>
              <a:gd name="T58" fmla="*/ 0 w 719"/>
              <a:gd name="T59" fmla="*/ 311 h 671"/>
              <a:gd name="T60" fmla="*/ 11 w 719"/>
              <a:gd name="T61" fmla="*/ 367 h 671"/>
              <a:gd name="T62" fmla="*/ 34 w 719"/>
              <a:gd name="T63" fmla="*/ 420 h 671"/>
              <a:gd name="T64" fmla="*/ 68 w 719"/>
              <a:gd name="T65" fmla="*/ 469 h 671"/>
              <a:gd name="T66" fmla="*/ 25 w 719"/>
              <a:gd name="T67" fmla="*/ 653 h 671"/>
              <a:gd name="T68" fmla="*/ 28 w 719"/>
              <a:gd name="T69" fmla="*/ 667 h 671"/>
              <a:gd name="T70" fmla="*/ 42 w 719"/>
              <a:gd name="T71" fmla="*/ 670 h 671"/>
              <a:gd name="T72" fmla="*/ 329 w 719"/>
              <a:gd name="T73" fmla="*/ 590 h 671"/>
              <a:gd name="T74" fmla="*/ 414 w 719"/>
              <a:gd name="T75" fmla="*/ 588 h 671"/>
              <a:gd name="T76" fmla="*/ 483 w 719"/>
              <a:gd name="T77" fmla="*/ 574 h 671"/>
              <a:gd name="T78" fmla="*/ 546 w 719"/>
              <a:gd name="T79" fmla="*/ 549 h 671"/>
              <a:gd name="T80" fmla="*/ 601 w 719"/>
              <a:gd name="T81" fmla="*/ 514 h 671"/>
              <a:gd name="T82" fmla="*/ 648 w 719"/>
              <a:gd name="T83" fmla="*/ 472 h 671"/>
              <a:gd name="T84" fmla="*/ 683 w 719"/>
              <a:gd name="T85" fmla="*/ 424 h 671"/>
              <a:gd name="T86" fmla="*/ 708 w 719"/>
              <a:gd name="T87" fmla="*/ 369 h 671"/>
              <a:gd name="T88" fmla="*/ 719 w 719"/>
              <a:gd name="T89" fmla="*/ 311 h 671"/>
              <a:gd name="T90" fmla="*/ 715 w 719"/>
              <a:gd name="T91" fmla="*/ 251 h 671"/>
              <a:gd name="T92" fmla="*/ 698 w 719"/>
              <a:gd name="T93" fmla="*/ 194 h 671"/>
              <a:gd name="T94" fmla="*/ 667 w 719"/>
              <a:gd name="T95" fmla="*/ 143 h 671"/>
              <a:gd name="T96" fmla="*/ 626 w 719"/>
              <a:gd name="T97" fmla="*/ 98 h 671"/>
              <a:gd name="T98" fmla="*/ 575 w 719"/>
              <a:gd name="T99" fmla="*/ 60 h 671"/>
              <a:gd name="T100" fmla="*/ 516 w 719"/>
              <a:gd name="T101" fmla="*/ 30 h 671"/>
              <a:gd name="T102" fmla="*/ 450 w 719"/>
              <a:gd name="T103" fmla="*/ 10 h 671"/>
              <a:gd name="T104" fmla="*/ 379 w 719"/>
              <a:gd name="T105" fmla="*/ 1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19" h="671">
                <a:moveTo>
                  <a:pt x="379" y="470"/>
                </a:moveTo>
                <a:lnTo>
                  <a:pt x="376" y="471"/>
                </a:lnTo>
                <a:lnTo>
                  <a:pt x="375" y="471"/>
                </a:lnTo>
                <a:lnTo>
                  <a:pt x="373" y="471"/>
                </a:lnTo>
                <a:lnTo>
                  <a:pt x="372" y="470"/>
                </a:lnTo>
                <a:lnTo>
                  <a:pt x="362" y="463"/>
                </a:lnTo>
                <a:lnTo>
                  <a:pt x="342" y="447"/>
                </a:lnTo>
                <a:lnTo>
                  <a:pt x="314" y="424"/>
                </a:lnTo>
                <a:lnTo>
                  <a:pt x="285" y="395"/>
                </a:lnTo>
                <a:lnTo>
                  <a:pt x="269" y="378"/>
                </a:lnTo>
                <a:lnTo>
                  <a:pt x="254" y="362"/>
                </a:lnTo>
                <a:lnTo>
                  <a:pt x="241" y="344"/>
                </a:lnTo>
                <a:lnTo>
                  <a:pt x="228" y="326"/>
                </a:lnTo>
                <a:lnTo>
                  <a:pt x="218" y="308"/>
                </a:lnTo>
                <a:lnTo>
                  <a:pt x="210" y="290"/>
                </a:lnTo>
                <a:lnTo>
                  <a:pt x="206" y="281"/>
                </a:lnTo>
                <a:lnTo>
                  <a:pt x="205" y="273"/>
                </a:lnTo>
                <a:lnTo>
                  <a:pt x="204" y="264"/>
                </a:lnTo>
                <a:lnTo>
                  <a:pt x="203" y="255"/>
                </a:lnTo>
                <a:lnTo>
                  <a:pt x="204" y="244"/>
                </a:lnTo>
                <a:lnTo>
                  <a:pt x="205" y="233"/>
                </a:lnTo>
                <a:lnTo>
                  <a:pt x="207" y="224"/>
                </a:lnTo>
                <a:lnTo>
                  <a:pt x="211" y="214"/>
                </a:lnTo>
                <a:lnTo>
                  <a:pt x="215" y="206"/>
                </a:lnTo>
                <a:lnTo>
                  <a:pt x="219" y="198"/>
                </a:lnTo>
                <a:lnTo>
                  <a:pt x="225" y="191"/>
                </a:lnTo>
                <a:lnTo>
                  <a:pt x="231" y="183"/>
                </a:lnTo>
                <a:lnTo>
                  <a:pt x="237" y="177"/>
                </a:lnTo>
                <a:lnTo>
                  <a:pt x="244" y="173"/>
                </a:lnTo>
                <a:lnTo>
                  <a:pt x="251" y="168"/>
                </a:lnTo>
                <a:lnTo>
                  <a:pt x="259" y="164"/>
                </a:lnTo>
                <a:lnTo>
                  <a:pt x="267" y="161"/>
                </a:lnTo>
                <a:lnTo>
                  <a:pt x="275" y="160"/>
                </a:lnTo>
                <a:lnTo>
                  <a:pt x="282" y="158"/>
                </a:lnTo>
                <a:lnTo>
                  <a:pt x="291" y="157"/>
                </a:lnTo>
                <a:lnTo>
                  <a:pt x="303" y="158"/>
                </a:lnTo>
                <a:lnTo>
                  <a:pt x="314" y="161"/>
                </a:lnTo>
                <a:lnTo>
                  <a:pt x="326" y="166"/>
                </a:lnTo>
                <a:lnTo>
                  <a:pt x="337" y="173"/>
                </a:lnTo>
                <a:lnTo>
                  <a:pt x="348" y="182"/>
                </a:lnTo>
                <a:lnTo>
                  <a:pt x="359" y="193"/>
                </a:lnTo>
                <a:lnTo>
                  <a:pt x="363" y="200"/>
                </a:lnTo>
                <a:lnTo>
                  <a:pt x="367" y="207"/>
                </a:lnTo>
                <a:lnTo>
                  <a:pt x="372" y="215"/>
                </a:lnTo>
                <a:lnTo>
                  <a:pt x="375" y="224"/>
                </a:lnTo>
                <a:lnTo>
                  <a:pt x="379" y="215"/>
                </a:lnTo>
                <a:lnTo>
                  <a:pt x="382" y="207"/>
                </a:lnTo>
                <a:lnTo>
                  <a:pt x="387" y="200"/>
                </a:lnTo>
                <a:lnTo>
                  <a:pt x="392" y="193"/>
                </a:lnTo>
                <a:lnTo>
                  <a:pt x="401" y="182"/>
                </a:lnTo>
                <a:lnTo>
                  <a:pt x="412" y="173"/>
                </a:lnTo>
                <a:lnTo>
                  <a:pt x="424" y="166"/>
                </a:lnTo>
                <a:lnTo>
                  <a:pt x="436" y="161"/>
                </a:lnTo>
                <a:lnTo>
                  <a:pt x="448" y="158"/>
                </a:lnTo>
                <a:lnTo>
                  <a:pt x="458" y="157"/>
                </a:lnTo>
                <a:lnTo>
                  <a:pt x="467" y="158"/>
                </a:lnTo>
                <a:lnTo>
                  <a:pt x="475" y="160"/>
                </a:lnTo>
                <a:lnTo>
                  <a:pt x="483" y="161"/>
                </a:lnTo>
                <a:lnTo>
                  <a:pt x="491" y="164"/>
                </a:lnTo>
                <a:lnTo>
                  <a:pt x="499" y="168"/>
                </a:lnTo>
                <a:lnTo>
                  <a:pt x="506" y="173"/>
                </a:lnTo>
                <a:lnTo>
                  <a:pt x="513" y="177"/>
                </a:lnTo>
                <a:lnTo>
                  <a:pt x="519" y="183"/>
                </a:lnTo>
                <a:lnTo>
                  <a:pt x="525" y="191"/>
                </a:lnTo>
                <a:lnTo>
                  <a:pt x="531" y="198"/>
                </a:lnTo>
                <a:lnTo>
                  <a:pt x="536" y="206"/>
                </a:lnTo>
                <a:lnTo>
                  <a:pt x="539" y="214"/>
                </a:lnTo>
                <a:lnTo>
                  <a:pt x="543" y="224"/>
                </a:lnTo>
                <a:lnTo>
                  <a:pt x="545" y="233"/>
                </a:lnTo>
                <a:lnTo>
                  <a:pt x="546" y="244"/>
                </a:lnTo>
                <a:lnTo>
                  <a:pt x="546" y="255"/>
                </a:lnTo>
                <a:lnTo>
                  <a:pt x="546" y="264"/>
                </a:lnTo>
                <a:lnTo>
                  <a:pt x="545" y="273"/>
                </a:lnTo>
                <a:lnTo>
                  <a:pt x="543" y="281"/>
                </a:lnTo>
                <a:lnTo>
                  <a:pt x="541" y="290"/>
                </a:lnTo>
                <a:lnTo>
                  <a:pt x="532" y="308"/>
                </a:lnTo>
                <a:lnTo>
                  <a:pt x="521" y="326"/>
                </a:lnTo>
                <a:lnTo>
                  <a:pt x="510" y="344"/>
                </a:lnTo>
                <a:lnTo>
                  <a:pt x="495" y="362"/>
                </a:lnTo>
                <a:lnTo>
                  <a:pt x="481" y="378"/>
                </a:lnTo>
                <a:lnTo>
                  <a:pt x="466" y="395"/>
                </a:lnTo>
                <a:lnTo>
                  <a:pt x="435" y="424"/>
                </a:lnTo>
                <a:lnTo>
                  <a:pt x="407" y="447"/>
                </a:lnTo>
                <a:lnTo>
                  <a:pt x="388" y="463"/>
                </a:lnTo>
                <a:lnTo>
                  <a:pt x="379" y="470"/>
                </a:lnTo>
                <a:lnTo>
                  <a:pt x="379" y="470"/>
                </a:lnTo>
                <a:close/>
                <a:moveTo>
                  <a:pt x="360" y="0"/>
                </a:moveTo>
                <a:lnTo>
                  <a:pt x="342" y="0"/>
                </a:lnTo>
                <a:lnTo>
                  <a:pt x="323" y="1"/>
                </a:lnTo>
                <a:lnTo>
                  <a:pt x="305" y="4"/>
                </a:lnTo>
                <a:lnTo>
                  <a:pt x="287" y="6"/>
                </a:lnTo>
                <a:lnTo>
                  <a:pt x="270" y="10"/>
                </a:lnTo>
                <a:lnTo>
                  <a:pt x="253" y="13"/>
                </a:lnTo>
                <a:lnTo>
                  <a:pt x="236" y="18"/>
                </a:lnTo>
                <a:lnTo>
                  <a:pt x="221" y="24"/>
                </a:lnTo>
                <a:lnTo>
                  <a:pt x="204" y="30"/>
                </a:lnTo>
                <a:lnTo>
                  <a:pt x="188" y="36"/>
                </a:lnTo>
                <a:lnTo>
                  <a:pt x="174" y="43"/>
                </a:lnTo>
                <a:lnTo>
                  <a:pt x="159" y="51"/>
                </a:lnTo>
                <a:lnTo>
                  <a:pt x="144" y="60"/>
                </a:lnTo>
                <a:lnTo>
                  <a:pt x="131" y="68"/>
                </a:lnTo>
                <a:lnTo>
                  <a:pt x="118" y="78"/>
                </a:lnTo>
                <a:lnTo>
                  <a:pt x="106" y="87"/>
                </a:lnTo>
                <a:lnTo>
                  <a:pt x="94" y="98"/>
                </a:lnTo>
                <a:lnTo>
                  <a:pt x="83" y="108"/>
                </a:lnTo>
                <a:lnTo>
                  <a:pt x="72" y="119"/>
                </a:lnTo>
                <a:lnTo>
                  <a:pt x="62" y="131"/>
                </a:lnTo>
                <a:lnTo>
                  <a:pt x="53" y="143"/>
                </a:lnTo>
                <a:lnTo>
                  <a:pt x="44" y="155"/>
                </a:lnTo>
                <a:lnTo>
                  <a:pt x="36" y="168"/>
                </a:lnTo>
                <a:lnTo>
                  <a:pt x="29" y="181"/>
                </a:lnTo>
                <a:lnTo>
                  <a:pt x="22" y="194"/>
                </a:lnTo>
                <a:lnTo>
                  <a:pt x="17" y="208"/>
                </a:lnTo>
                <a:lnTo>
                  <a:pt x="12" y="223"/>
                </a:lnTo>
                <a:lnTo>
                  <a:pt x="8" y="237"/>
                </a:lnTo>
                <a:lnTo>
                  <a:pt x="5" y="251"/>
                </a:lnTo>
                <a:lnTo>
                  <a:pt x="3" y="265"/>
                </a:lnTo>
                <a:lnTo>
                  <a:pt x="0" y="281"/>
                </a:lnTo>
                <a:lnTo>
                  <a:pt x="0" y="296"/>
                </a:lnTo>
                <a:lnTo>
                  <a:pt x="0" y="311"/>
                </a:lnTo>
                <a:lnTo>
                  <a:pt x="2" y="325"/>
                </a:lnTo>
                <a:lnTo>
                  <a:pt x="4" y="339"/>
                </a:lnTo>
                <a:lnTo>
                  <a:pt x="8" y="352"/>
                </a:lnTo>
                <a:lnTo>
                  <a:pt x="11" y="367"/>
                </a:lnTo>
                <a:lnTo>
                  <a:pt x="15" y="381"/>
                </a:lnTo>
                <a:lnTo>
                  <a:pt x="21" y="394"/>
                </a:lnTo>
                <a:lnTo>
                  <a:pt x="27" y="407"/>
                </a:lnTo>
                <a:lnTo>
                  <a:pt x="34" y="420"/>
                </a:lnTo>
                <a:lnTo>
                  <a:pt x="41" y="432"/>
                </a:lnTo>
                <a:lnTo>
                  <a:pt x="49" y="445"/>
                </a:lnTo>
                <a:lnTo>
                  <a:pt x="59" y="457"/>
                </a:lnTo>
                <a:lnTo>
                  <a:pt x="68" y="469"/>
                </a:lnTo>
                <a:lnTo>
                  <a:pt x="79" y="480"/>
                </a:lnTo>
                <a:lnTo>
                  <a:pt x="90" y="490"/>
                </a:lnTo>
                <a:lnTo>
                  <a:pt x="102" y="501"/>
                </a:lnTo>
                <a:lnTo>
                  <a:pt x="25" y="653"/>
                </a:lnTo>
                <a:lnTo>
                  <a:pt x="24" y="657"/>
                </a:lnTo>
                <a:lnTo>
                  <a:pt x="24" y="662"/>
                </a:lnTo>
                <a:lnTo>
                  <a:pt x="25" y="665"/>
                </a:lnTo>
                <a:lnTo>
                  <a:pt x="28" y="667"/>
                </a:lnTo>
                <a:lnTo>
                  <a:pt x="31" y="670"/>
                </a:lnTo>
                <a:lnTo>
                  <a:pt x="36" y="671"/>
                </a:lnTo>
                <a:lnTo>
                  <a:pt x="39" y="671"/>
                </a:lnTo>
                <a:lnTo>
                  <a:pt x="42" y="670"/>
                </a:lnTo>
                <a:lnTo>
                  <a:pt x="240" y="574"/>
                </a:lnTo>
                <a:lnTo>
                  <a:pt x="268" y="582"/>
                </a:lnTo>
                <a:lnTo>
                  <a:pt x="299" y="587"/>
                </a:lnTo>
                <a:lnTo>
                  <a:pt x="329" y="590"/>
                </a:lnTo>
                <a:lnTo>
                  <a:pt x="360" y="591"/>
                </a:lnTo>
                <a:lnTo>
                  <a:pt x="379" y="590"/>
                </a:lnTo>
                <a:lnTo>
                  <a:pt x="397" y="590"/>
                </a:lnTo>
                <a:lnTo>
                  <a:pt x="414" y="588"/>
                </a:lnTo>
                <a:lnTo>
                  <a:pt x="432" y="585"/>
                </a:lnTo>
                <a:lnTo>
                  <a:pt x="450" y="582"/>
                </a:lnTo>
                <a:lnTo>
                  <a:pt x="467" y="578"/>
                </a:lnTo>
                <a:lnTo>
                  <a:pt x="483" y="574"/>
                </a:lnTo>
                <a:lnTo>
                  <a:pt x="500" y="568"/>
                </a:lnTo>
                <a:lnTo>
                  <a:pt x="516" y="562"/>
                </a:lnTo>
                <a:lnTo>
                  <a:pt x="531" y="556"/>
                </a:lnTo>
                <a:lnTo>
                  <a:pt x="546" y="549"/>
                </a:lnTo>
                <a:lnTo>
                  <a:pt x="561" y="540"/>
                </a:lnTo>
                <a:lnTo>
                  <a:pt x="575" y="532"/>
                </a:lnTo>
                <a:lnTo>
                  <a:pt x="588" y="524"/>
                </a:lnTo>
                <a:lnTo>
                  <a:pt x="601" y="514"/>
                </a:lnTo>
                <a:lnTo>
                  <a:pt x="614" y="505"/>
                </a:lnTo>
                <a:lnTo>
                  <a:pt x="626" y="494"/>
                </a:lnTo>
                <a:lnTo>
                  <a:pt x="637" y="483"/>
                </a:lnTo>
                <a:lnTo>
                  <a:pt x="648" y="472"/>
                </a:lnTo>
                <a:lnTo>
                  <a:pt x="658" y="461"/>
                </a:lnTo>
                <a:lnTo>
                  <a:pt x="667" y="449"/>
                </a:lnTo>
                <a:lnTo>
                  <a:pt x="676" y="437"/>
                </a:lnTo>
                <a:lnTo>
                  <a:pt x="683" y="424"/>
                </a:lnTo>
                <a:lnTo>
                  <a:pt x="690" y="411"/>
                </a:lnTo>
                <a:lnTo>
                  <a:pt x="698" y="397"/>
                </a:lnTo>
                <a:lnTo>
                  <a:pt x="703" y="383"/>
                </a:lnTo>
                <a:lnTo>
                  <a:pt x="708" y="369"/>
                </a:lnTo>
                <a:lnTo>
                  <a:pt x="712" y="355"/>
                </a:lnTo>
                <a:lnTo>
                  <a:pt x="715" y="340"/>
                </a:lnTo>
                <a:lnTo>
                  <a:pt x="718" y="326"/>
                </a:lnTo>
                <a:lnTo>
                  <a:pt x="719" y="311"/>
                </a:lnTo>
                <a:lnTo>
                  <a:pt x="719" y="296"/>
                </a:lnTo>
                <a:lnTo>
                  <a:pt x="719" y="281"/>
                </a:lnTo>
                <a:lnTo>
                  <a:pt x="718" y="265"/>
                </a:lnTo>
                <a:lnTo>
                  <a:pt x="715" y="251"/>
                </a:lnTo>
                <a:lnTo>
                  <a:pt x="712" y="237"/>
                </a:lnTo>
                <a:lnTo>
                  <a:pt x="708" y="223"/>
                </a:lnTo>
                <a:lnTo>
                  <a:pt x="703" y="208"/>
                </a:lnTo>
                <a:lnTo>
                  <a:pt x="698" y="194"/>
                </a:lnTo>
                <a:lnTo>
                  <a:pt x="690" y="181"/>
                </a:lnTo>
                <a:lnTo>
                  <a:pt x="683" y="168"/>
                </a:lnTo>
                <a:lnTo>
                  <a:pt x="676" y="155"/>
                </a:lnTo>
                <a:lnTo>
                  <a:pt x="667" y="143"/>
                </a:lnTo>
                <a:lnTo>
                  <a:pt x="658" y="131"/>
                </a:lnTo>
                <a:lnTo>
                  <a:pt x="648" y="119"/>
                </a:lnTo>
                <a:lnTo>
                  <a:pt x="637" y="108"/>
                </a:lnTo>
                <a:lnTo>
                  <a:pt x="626" y="98"/>
                </a:lnTo>
                <a:lnTo>
                  <a:pt x="614" y="87"/>
                </a:lnTo>
                <a:lnTo>
                  <a:pt x="601" y="78"/>
                </a:lnTo>
                <a:lnTo>
                  <a:pt x="588" y="68"/>
                </a:lnTo>
                <a:lnTo>
                  <a:pt x="575" y="60"/>
                </a:lnTo>
                <a:lnTo>
                  <a:pt x="561" y="51"/>
                </a:lnTo>
                <a:lnTo>
                  <a:pt x="546" y="43"/>
                </a:lnTo>
                <a:lnTo>
                  <a:pt x="531" y="36"/>
                </a:lnTo>
                <a:lnTo>
                  <a:pt x="516" y="30"/>
                </a:lnTo>
                <a:lnTo>
                  <a:pt x="500" y="24"/>
                </a:lnTo>
                <a:lnTo>
                  <a:pt x="483" y="18"/>
                </a:lnTo>
                <a:lnTo>
                  <a:pt x="467" y="13"/>
                </a:lnTo>
                <a:lnTo>
                  <a:pt x="450" y="10"/>
                </a:lnTo>
                <a:lnTo>
                  <a:pt x="432" y="6"/>
                </a:lnTo>
                <a:lnTo>
                  <a:pt x="414" y="4"/>
                </a:lnTo>
                <a:lnTo>
                  <a:pt x="397" y="1"/>
                </a:lnTo>
                <a:lnTo>
                  <a:pt x="379" y="1"/>
                </a:lnTo>
                <a:lnTo>
                  <a:pt x="360" y="0"/>
                </a:lnTo>
                <a:lnTo>
                  <a:pt x="36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132" name="Group 131"/>
          <p:cNvGrpSpPr/>
          <p:nvPr/>
        </p:nvGrpSpPr>
        <p:grpSpPr>
          <a:xfrm>
            <a:off x="5734051" y="2742599"/>
            <a:ext cx="723900" cy="723900"/>
            <a:chOff x="1460463" y="779462"/>
            <a:chExt cx="285751" cy="28575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33" name="Freeform 2989"/>
            <p:cNvSpPr/>
            <p:nvPr/>
          </p:nvSpPr>
          <p:spPr bwMode="auto">
            <a:xfrm>
              <a:off x="1643026" y="938212"/>
              <a:ext cx="46038" cy="46038"/>
            </a:xfrm>
            <a:custGeom>
              <a:avLst/>
              <a:gdLst>
                <a:gd name="T0" fmla="*/ 58 w 115"/>
                <a:gd name="T1" fmla="*/ 0 h 116"/>
                <a:gd name="T2" fmla="*/ 46 w 115"/>
                <a:gd name="T3" fmla="*/ 2 h 116"/>
                <a:gd name="T4" fmla="*/ 35 w 115"/>
                <a:gd name="T5" fmla="*/ 5 h 116"/>
                <a:gd name="T6" fmla="*/ 26 w 115"/>
                <a:gd name="T7" fmla="*/ 10 h 116"/>
                <a:gd name="T8" fmla="*/ 18 w 115"/>
                <a:gd name="T9" fmla="*/ 17 h 116"/>
                <a:gd name="T10" fmla="*/ 10 w 115"/>
                <a:gd name="T11" fmla="*/ 27 h 116"/>
                <a:gd name="T12" fmla="*/ 5 w 115"/>
                <a:gd name="T13" fmla="*/ 36 h 116"/>
                <a:gd name="T14" fmla="*/ 1 w 115"/>
                <a:gd name="T15" fmla="*/ 47 h 116"/>
                <a:gd name="T16" fmla="*/ 0 w 115"/>
                <a:gd name="T17" fmla="*/ 59 h 116"/>
                <a:gd name="T18" fmla="*/ 1 w 115"/>
                <a:gd name="T19" fmla="*/ 69 h 116"/>
                <a:gd name="T20" fmla="*/ 5 w 115"/>
                <a:gd name="T21" fmla="*/ 80 h 116"/>
                <a:gd name="T22" fmla="*/ 10 w 115"/>
                <a:gd name="T23" fmla="*/ 91 h 116"/>
                <a:gd name="T24" fmla="*/ 18 w 115"/>
                <a:gd name="T25" fmla="*/ 99 h 116"/>
                <a:gd name="T26" fmla="*/ 26 w 115"/>
                <a:gd name="T27" fmla="*/ 106 h 116"/>
                <a:gd name="T28" fmla="*/ 35 w 115"/>
                <a:gd name="T29" fmla="*/ 111 h 116"/>
                <a:gd name="T30" fmla="*/ 46 w 115"/>
                <a:gd name="T31" fmla="*/ 115 h 116"/>
                <a:gd name="T32" fmla="*/ 58 w 115"/>
                <a:gd name="T33" fmla="*/ 116 h 116"/>
                <a:gd name="T34" fmla="*/ 69 w 115"/>
                <a:gd name="T35" fmla="*/ 115 h 116"/>
                <a:gd name="T36" fmla="*/ 81 w 115"/>
                <a:gd name="T37" fmla="*/ 111 h 116"/>
                <a:gd name="T38" fmla="*/ 90 w 115"/>
                <a:gd name="T39" fmla="*/ 106 h 116"/>
                <a:gd name="T40" fmla="*/ 98 w 115"/>
                <a:gd name="T41" fmla="*/ 99 h 116"/>
                <a:gd name="T42" fmla="*/ 106 w 115"/>
                <a:gd name="T43" fmla="*/ 91 h 116"/>
                <a:gd name="T44" fmla="*/ 110 w 115"/>
                <a:gd name="T45" fmla="*/ 80 h 116"/>
                <a:gd name="T46" fmla="*/ 114 w 115"/>
                <a:gd name="T47" fmla="*/ 69 h 116"/>
                <a:gd name="T48" fmla="*/ 115 w 115"/>
                <a:gd name="T49" fmla="*/ 59 h 116"/>
                <a:gd name="T50" fmla="*/ 114 w 115"/>
                <a:gd name="T51" fmla="*/ 47 h 116"/>
                <a:gd name="T52" fmla="*/ 110 w 115"/>
                <a:gd name="T53" fmla="*/ 36 h 116"/>
                <a:gd name="T54" fmla="*/ 106 w 115"/>
                <a:gd name="T55" fmla="*/ 27 h 116"/>
                <a:gd name="T56" fmla="*/ 98 w 115"/>
                <a:gd name="T57" fmla="*/ 17 h 116"/>
                <a:gd name="T58" fmla="*/ 90 w 115"/>
                <a:gd name="T59" fmla="*/ 10 h 116"/>
                <a:gd name="T60" fmla="*/ 81 w 115"/>
                <a:gd name="T61" fmla="*/ 5 h 116"/>
                <a:gd name="T62" fmla="*/ 69 w 115"/>
                <a:gd name="T63" fmla="*/ 2 h 116"/>
                <a:gd name="T64" fmla="*/ 58 w 115"/>
                <a:gd name="T6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116">
                  <a:moveTo>
                    <a:pt x="58" y="0"/>
                  </a:moveTo>
                  <a:lnTo>
                    <a:pt x="46" y="2"/>
                  </a:lnTo>
                  <a:lnTo>
                    <a:pt x="35" y="5"/>
                  </a:lnTo>
                  <a:lnTo>
                    <a:pt x="26" y="10"/>
                  </a:lnTo>
                  <a:lnTo>
                    <a:pt x="18" y="17"/>
                  </a:lnTo>
                  <a:lnTo>
                    <a:pt x="10" y="27"/>
                  </a:lnTo>
                  <a:lnTo>
                    <a:pt x="5" y="36"/>
                  </a:lnTo>
                  <a:lnTo>
                    <a:pt x="1" y="47"/>
                  </a:lnTo>
                  <a:lnTo>
                    <a:pt x="0" y="59"/>
                  </a:lnTo>
                  <a:lnTo>
                    <a:pt x="1" y="69"/>
                  </a:lnTo>
                  <a:lnTo>
                    <a:pt x="5" y="80"/>
                  </a:lnTo>
                  <a:lnTo>
                    <a:pt x="10" y="91"/>
                  </a:lnTo>
                  <a:lnTo>
                    <a:pt x="18" y="99"/>
                  </a:lnTo>
                  <a:lnTo>
                    <a:pt x="26" y="106"/>
                  </a:lnTo>
                  <a:lnTo>
                    <a:pt x="35" y="111"/>
                  </a:lnTo>
                  <a:lnTo>
                    <a:pt x="46" y="115"/>
                  </a:lnTo>
                  <a:lnTo>
                    <a:pt x="58" y="116"/>
                  </a:lnTo>
                  <a:lnTo>
                    <a:pt x="69" y="115"/>
                  </a:lnTo>
                  <a:lnTo>
                    <a:pt x="81" y="111"/>
                  </a:lnTo>
                  <a:lnTo>
                    <a:pt x="90" y="106"/>
                  </a:lnTo>
                  <a:lnTo>
                    <a:pt x="98" y="99"/>
                  </a:lnTo>
                  <a:lnTo>
                    <a:pt x="106" y="91"/>
                  </a:lnTo>
                  <a:lnTo>
                    <a:pt x="110" y="80"/>
                  </a:lnTo>
                  <a:lnTo>
                    <a:pt x="114" y="69"/>
                  </a:lnTo>
                  <a:lnTo>
                    <a:pt x="115" y="59"/>
                  </a:lnTo>
                  <a:lnTo>
                    <a:pt x="114" y="47"/>
                  </a:lnTo>
                  <a:lnTo>
                    <a:pt x="110" y="36"/>
                  </a:lnTo>
                  <a:lnTo>
                    <a:pt x="106" y="27"/>
                  </a:lnTo>
                  <a:lnTo>
                    <a:pt x="98" y="17"/>
                  </a:lnTo>
                  <a:lnTo>
                    <a:pt x="90" y="10"/>
                  </a:lnTo>
                  <a:lnTo>
                    <a:pt x="81" y="5"/>
                  </a:lnTo>
                  <a:lnTo>
                    <a:pt x="69" y="2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990"/>
            <p:cNvSpPr/>
            <p:nvPr/>
          </p:nvSpPr>
          <p:spPr bwMode="auto">
            <a:xfrm>
              <a:off x="1609688" y="965200"/>
              <a:ext cx="23813" cy="23813"/>
            </a:xfrm>
            <a:custGeom>
              <a:avLst/>
              <a:gdLst>
                <a:gd name="T0" fmla="*/ 61 w 61"/>
                <a:gd name="T1" fmla="*/ 29 h 60"/>
                <a:gd name="T2" fmla="*/ 60 w 61"/>
                <a:gd name="T3" fmla="*/ 24 h 60"/>
                <a:gd name="T4" fmla="*/ 58 w 61"/>
                <a:gd name="T5" fmla="*/ 18 h 60"/>
                <a:gd name="T6" fmla="*/ 56 w 61"/>
                <a:gd name="T7" fmla="*/ 13 h 60"/>
                <a:gd name="T8" fmla="*/ 51 w 61"/>
                <a:gd name="T9" fmla="*/ 8 h 60"/>
                <a:gd name="T10" fmla="*/ 48 w 61"/>
                <a:gd name="T11" fmla="*/ 5 h 60"/>
                <a:gd name="T12" fmla="*/ 42 w 61"/>
                <a:gd name="T13" fmla="*/ 2 h 60"/>
                <a:gd name="T14" fmla="*/ 37 w 61"/>
                <a:gd name="T15" fmla="*/ 1 h 60"/>
                <a:gd name="T16" fmla="*/ 30 w 61"/>
                <a:gd name="T17" fmla="*/ 0 h 60"/>
                <a:gd name="T18" fmla="*/ 24 w 61"/>
                <a:gd name="T19" fmla="*/ 1 h 60"/>
                <a:gd name="T20" fmla="*/ 19 w 61"/>
                <a:gd name="T21" fmla="*/ 2 h 60"/>
                <a:gd name="T22" fmla="*/ 13 w 61"/>
                <a:gd name="T23" fmla="*/ 5 h 60"/>
                <a:gd name="T24" fmla="*/ 10 w 61"/>
                <a:gd name="T25" fmla="*/ 8 h 60"/>
                <a:gd name="T26" fmla="*/ 5 w 61"/>
                <a:gd name="T27" fmla="*/ 13 h 60"/>
                <a:gd name="T28" fmla="*/ 2 w 61"/>
                <a:gd name="T29" fmla="*/ 18 h 60"/>
                <a:gd name="T30" fmla="*/ 1 w 61"/>
                <a:gd name="T31" fmla="*/ 24 h 60"/>
                <a:gd name="T32" fmla="*/ 0 w 61"/>
                <a:gd name="T33" fmla="*/ 29 h 60"/>
                <a:gd name="T34" fmla="*/ 1 w 61"/>
                <a:gd name="T35" fmla="*/ 35 h 60"/>
                <a:gd name="T36" fmla="*/ 2 w 61"/>
                <a:gd name="T37" fmla="*/ 41 h 60"/>
                <a:gd name="T38" fmla="*/ 5 w 61"/>
                <a:gd name="T39" fmla="*/ 47 h 60"/>
                <a:gd name="T40" fmla="*/ 10 w 61"/>
                <a:gd name="T41" fmla="*/ 51 h 60"/>
                <a:gd name="T42" fmla="*/ 13 w 61"/>
                <a:gd name="T43" fmla="*/ 54 h 60"/>
                <a:gd name="T44" fmla="*/ 19 w 61"/>
                <a:gd name="T45" fmla="*/ 58 h 60"/>
                <a:gd name="T46" fmla="*/ 24 w 61"/>
                <a:gd name="T47" fmla="*/ 59 h 60"/>
                <a:gd name="T48" fmla="*/ 30 w 61"/>
                <a:gd name="T49" fmla="*/ 60 h 60"/>
                <a:gd name="T50" fmla="*/ 37 w 61"/>
                <a:gd name="T51" fmla="*/ 59 h 60"/>
                <a:gd name="T52" fmla="*/ 42 w 61"/>
                <a:gd name="T53" fmla="*/ 58 h 60"/>
                <a:gd name="T54" fmla="*/ 48 w 61"/>
                <a:gd name="T55" fmla="*/ 54 h 60"/>
                <a:gd name="T56" fmla="*/ 51 w 61"/>
                <a:gd name="T57" fmla="*/ 51 h 60"/>
                <a:gd name="T58" fmla="*/ 56 w 61"/>
                <a:gd name="T59" fmla="*/ 47 h 60"/>
                <a:gd name="T60" fmla="*/ 58 w 61"/>
                <a:gd name="T61" fmla="*/ 41 h 60"/>
                <a:gd name="T62" fmla="*/ 60 w 61"/>
                <a:gd name="T63" fmla="*/ 35 h 60"/>
                <a:gd name="T64" fmla="*/ 61 w 61"/>
                <a:gd name="T65" fmla="*/ 29 h 60"/>
                <a:gd name="T66" fmla="*/ 61 w 61"/>
                <a:gd name="T6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60">
                  <a:moveTo>
                    <a:pt x="61" y="29"/>
                  </a:move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8"/>
                  </a:lnTo>
                  <a:lnTo>
                    <a:pt x="48" y="5"/>
                  </a:lnTo>
                  <a:lnTo>
                    <a:pt x="42" y="2"/>
                  </a:lnTo>
                  <a:lnTo>
                    <a:pt x="37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10" y="8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10" y="51"/>
                  </a:lnTo>
                  <a:lnTo>
                    <a:pt x="13" y="54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7" y="59"/>
                  </a:lnTo>
                  <a:lnTo>
                    <a:pt x="42" y="58"/>
                  </a:lnTo>
                  <a:lnTo>
                    <a:pt x="48" y="54"/>
                  </a:lnTo>
                  <a:lnTo>
                    <a:pt x="51" y="51"/>
                  </a:lnTo>
                  <a:lnTo>
                    <a:pt x="56" y="47"/>
                  </a:lnTo>
                  <a:lnTo>
                    <a:pt x="58" y="41"/>
                  </a:lnTo>
                  <a:lnTo>
                    <a:pt x="60" y="35"/>
                  </a:lnTo>
                  <a:lnTo>
                    <a:pt x="61" y="29"/>
                  </a:lnTo>
                  <a:lnTo>
                    <a:pt x="6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991"/>
            <p:cNvSpPr>
              <a:spLocks noEditPoints="1"/>
            </p:cNvSpPr>
            <p:nvPr/>
          </p:nvSpPr>
          <p:spPr bwMode="auto">
            <a:xfrm>
              <a:off x="1557301" y="779462"/>
              <a:ext cx="188913" cy="147638"/>
            </a:xfrm>
            <a:custGeom>
              <a:avLst/>
              <a:gdLst>
                <a:gd name="T0" fmla="*/ 326 w 476"/>
                <a:gd name="T1" fmla="*/ 203 h 371"/>
                <a:gd name="T2" fmla="*/ 313 w 476"/>
                <a:gd name="T3" fmla="*/ 184 h 371"/>
                <a:gd name="T4" fmla="*/ 318 w 476"/>
                <a:gd name="T5" fmla="*/ 161 h 371"/>
                <a:gd name="T6" fmla="*/ 337 w 476"/>
                <a:gd name="T7" fmla="*/ 148 h 371"/>
                <a:gd name="T8" fmla="*/ 359 w 476"/>
                <a:gd name="T9" fmla="*/ 153 h 371"/>
                <a:gd name="T10" fmla="*/ 373 w 476"/>
                <a:gd name="T11" fmla="*/ 172 h 371"/>
                <a:gd name="T12" fmla="*/ 368 w 476"/>
                <a:gd name="T13" fmla="*/ 195 h 371"/>
                <a:gd name="T14" fmla="*/ 349 w 476"/>
                <a:gd name="T15" fmla="*/ 208 h 371"/>
                <a:gd name="T16" fmla="*/ 241 w 476"/>
                <a:gd name="T17" fmla="*/ 205 h 371"/>
                <a:gd name="T18" fmla="*/ 224 w 476"/>
                <a:gd name="T19" fmla="*/ 190 h 371"/>
                <a:gd name="T20" fmla="*/ 224 w 476"/>
                <a:gd name="T21" fmla="*/ 166 h 371"/>
                <a:gd name="T22" fmla="*/ 241 w 476"/>
                <a:gd name="T23" fmla="*/ 150 h 371"/>
                <a:gd name="T24" fmla="*/ 264 w 476"/>
                <a:gd name="T25" fmla="*/ 150 h 371"/>
                <a:gd name="T26" fmla="*/ 280 w 476"/>
                <a:gd name="T27" fmla="*/ 166 h 371"/>
                <a:gd name="T28" fmla="*/ 280 w 476"/>
                <a:gd name="T29" fmla="*/ 190 h 371"/>
                <a:gd name="T30" fmla="*/ 264 w 476"/>
                <a:gd name="T31" fmla="*/ 205 h 371"/>
                <a:gd name="T32" fmla="*/ 155 w 476"/>
                <a:gd name="T33" fmla="*/ 208 h 371"/>
                <a:gd name="T34" fmla="*/ 136 w 476"/>
                <a:gd name="T35" fmla="*/ 195 h 371"/>
                <a:gd name="T36" fmla="*/ 132 w 476"/>
                <a:gd name="T37" fmla="*/ 172 h 371"/>
                <a:gd name="T38" fmla="*/ 144 w 476"/>
                <a:gd name="T39" fmla="*/ 153 h 371"/>
                <a:gd name="T40" fmla="*/ 168 w 476"/>
                <a:gd name="T41" fmla="*/ 148 h 371"/>
                <a:gd name="T42" fmla="*/ 187 w 476"/>
                <a:gd name="T43" fmla="*/ 161 h 371"/>
                <a:gd name="T44" fmla="*/ 191 w 476"/>
                <a:gd name="T45" fmla="*/ 184 h 371"/>
                <a:gd name="T46" fmla="*/ 179 w 476"/>
                <a:gd name="T47" fmla="*/ 203 h 371"/>
                <a:gd name="T48" fmla="*/ 310 w 476"/>
                <a:gd name="T49" fmla="*/ 0 h 371"/>
                <a:gd name="T50" fmla="*/ 254 w 476"/>
                <a:gd name="T51" fmla="*/ 10 h 371"/>
                <a:gd name="T52" fmla="*/ 205 w 476"/>
                <a:gd name="T53" fmla="*/ 42 h 371"/>
                <a:gd name="T54" fmla="*/ 139 w 476"/>
                <a:gd name="T55" fmla="*/ 28 h 371"/>
                <a:gd name="T56" fmla="*/ 99 w 476"/>
                <a:gd name="T57" fmla="*/ 35 h 371"/>
                <a:gd name="T58" fmla="*/ 62 w 476"/>
                <a:gd name="T59" fmla="*/ 54 h 371"/>
                <a:gd name="T60" fmla="*/ 32 w 476"/>
                <a:gd name="T61" fmla="*/ 87 h 371"/>
                <a:gd name="T62" fmla="*/ 11 w 476"/>
                <a:gd name="T63" fmla="*/ 127 h 371"/>
                <a:gd name="T64" fmla="*/ 0 w 476"/>
                <a:gd name="T65" fmla="*/ 188 h 371"/>
                <a:gd name="T66" fmla="*/ 31 w 476"/>
                <a:gd name="T67" fmla="*/ 189 h 371"/>
                <a:gd name="T68" fmla="*/ 73 w 476"/>
                <a:gd name="T69" fmla="*/ 198 h 371"/>
                <a:gd name="T70" fmla="*/ 105 w 476"/>
                <a:gd name="T71" fmla="*/ 217 h 371"/>
                <a:gd name="T72" fmla="*/ 126 w 476"/>
                <a:gd name="T73" fmla="*/ 244 h 371"/>
                <a:gd name="T74" fmla="*/ 135 w 476"/>
                <a:gd name="T75" fmla="*/ 289 h 371"/>
                <a:gd name="T76" fmla="*/ 154 w 476"/>
                <a:gd name="T77" fmla="*/ 324 h 371"/>
                <a:gd name="T78" fmla="*/ 188 w 476"/>
                <a:gd name="T79" fmla="*/ 359 h 371"/>
                <a:gd name="T80" fmla="*/ 237 w 476"/>
                <a:gd name="T81" fmla="*/ 371 h 371"/>
                <a:gd name="T82" fmla="*/ 281 w 476"/>
                <a:gd name="T83" fmla="*/ 359 h 371"/>
                <a:gd name="T84" fmla="*/ 319 w 476"/>
                <a:gd name="T85" fmla="*/ 326 h 371"/>
                <a:gd name="T86" fmla="*/ 384 w 476"/>
                <a:gd name="T87" fmla="*/ 313 h 371"/>
                <a:gd name="T88" fmla="*/ 436 w 476"/>
                <a:gd name="T89" fmla="*/ 277 h 371"/>
                <a:gd name="T90" fmla="*/ 465 w 476"/>
                <a:gd name="T91" fmla="*/ 228 h 371"/>
                <a:gd name="T92" fmla="*/ 476 w 476"/>
                <a:gd name="T93" fmla="*/ 169 h 371"/>
                <a:gd name="T94" fmla="*/ 465 w 476"/>
                <a:gd name="T95" fmla="*/ 108 h 371"/>
                <a:gd name="T96" fmla="*/ 433 w 476"/>
                <a:gd name="T97" fmla="*/ 53 h 371"/>
                <a:gd name="T98" fmla="*/ 381 w 476"/>
                <a:gd name="T99" fmla="*/ 15 h 371"/>
                <a:gd name="T100" fmla="*/ 310 w 476"/>
                <a:gd name="T101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6" h="371">
                  <a:moveTo>
                    <a:pt x="343" y="208"/>
                  </a:moveTo>
                  <a:lnTo>
                    <a:pt x="337" y="208"/>
                  </a:lnTo>
                  <a:lnTo>
                    <a:pt x="331" y="205"/>
                  </a:lnTo>
                  <a:lnTo>
                    <a:pt x="326" y="203"/>
                  </a:lnTo>
                  <a:lnTo>
                    <a:pt x="321" y="200"/>
                  </a:lnTo>
                  <a:lnTo>
                    <a:pt x="318" y="195"/>
                  </a:lnTo>
                  <a:lnTo>
                    <a:pt x="314" y="190"/>
                  </a:lnTo>
                  <a:lnTo>
                    <a:pt x="313" y="184"/>
                  </a:lnTo>
                  <a:lnTo>
                    <a:pt x="312" y="178"/>
                  </a:lnTo>
                  <a:lnTo>
                    <a:pt x="313" y="172"/>
                  </a:lnTo>
                  <a:lnTo>
                    <a:pt x="314" y="166"/>
                  </a:lnTo>
                  <a:lnTo>
                    <a:pt x="318" y="161"/>
                  </a:lnTo>
                  <a:lnTo>
                    <a:pt x="321" y="157"/>
                  </a:lnTo>
                  <a:lnTo>
                    <a:pt x="326" y="153"/>
                  </a:lnTo>
                  <a:lnTo>
                    <a:pt x="331" y="150"/>
                  </a:lnTo>
                  <a:lnTo>
                    <a:pt x="337" y="148"/>
                  </a:lnTo>
                  <a:lnTo>
                    <a:pt x="343" y="147"/>
                  </a:lnTo>
                  <a:lnTo>
                    <a:pt x="349" y="148"/>
                  </a:lnTo>
                  <a:lnTo>
                    <a:pt x="355" y="150"/>
                  </a:lnTo>
                  <a:lnTo>
                    <a:pt x="359" y="153"/>
                  </a:lnTo>
                  <a:lnTo>
                    <a:pt x="364" y="157"/>
                  </a:lnTo>
                  <a:lnTo>
                    <a:pt x="368" y="161"/>
                  </a:lnTo>
                  <a:lnTo>
                    <a:pt x="370" y="166"/>
                  </a:lnTo>
                  <a:lnTo>
                    <a:pt x="373" y="172"/>
                  </a:lnTo>
                  <a:lnTo>
                    <a:pt x="373" y="178"/>
                  </a:lnTo>
                  <a:lnTo>
                    <a:pt x="373" y="184"/>
                  </a:lnTo>
                  <a:lnTo>
                    <a:pt x="370" y="190"/>
                  </a:lnTo>
                  <a:lnTo>
                    <a:pt x="368" y="195"/>
                  </a:lnTo>
                  <a:lnTo>
                    <a:pt x="364" y="200"/>
                  </a:lnTo>
                  <a:lnTo>
                    <a:pt x="359" y="203"/>
                  </a:lnTo>
                  <a:lnTo>
                    <a:pt x="355" y="205"/>
                  </a:lnTo>
                  <a:lnTo>
                    <a:pt x="349" y="208"/>
                  </a:lnTo>
                  <a:lnTo>
                    <a:pt x="343" y="208"/>
                  </a:lnTo>
                  <a:close/>
                  <a:moveTo>
                    <a:pt x="252" y="208"/>
                  </a:moveTo>
                  <a:lnTo>
                    <a:pt x="246" y="208"/>
                  </a:lnTo>
                  <a:lnTo>
                    <a:pt x="241" y="205"/>
                  </a:lnTo>
                  <a:lnTo>
                    <a:pt x="235" y="203"/>
                  </a:lnTo>
                  <a:lnTo>
                    <a:pt x="231" y="200"/>
                  </a:lnTo>
                  <a:lnTo>
                    <a:pt x="227" y="195"/>
                  </a:lnTo>
                  <a:lnTo>
                    <a:pt x="224" y="190"/>
                  </a:lnTo>
                  <a:lnTo>
                    <a:pt x="223" y="184"/>
                  </a:lnTo>
                  <a:lnTo>
                    <a:pt x="222" y="178"/>
                  </a:lnTo>
                  <a:lnTo>
                    <a:pt x="223" y="172"/>
                  </a:lnTo>
                  <a:lnTo>
                    <a:pt x="224" y="166"/>
                  </a:lnTo>
                  <a:lnTo>
                    <a:pt x="227" y="161"/>
                  </a:lnTo>
                  <a:lnTo>
                    <a:pt x="231" y="157"/>
                  </a:lnTo>
                  <a:lnTo>
                    <a:pt x="235" y="153"/>
                  </a:lnTo>
                  <a:lnTo>
                    <a:pt x="241" y="150"/>
                  </a:lnTo>
                  <a:lnTo>
                    <a:pt x="246" y="148"/>
                  </a:lnTo>
                  <a:lnTo>
                    <a:pt x="252" y="147"/>
                  </a:lnTo>
                  <a:lnTo>
                    <a:pt x="258" y="148"/>
                  </a:lnTo>
                  <a:lnTo>
                    <a:pt x="264" y="150"/>
                  </a:lnTo>
                  <a:lnTo>
                    <a:pt x="269" y="153"/>
                  </a:lnTo>
                  <a:lnTo>
                    <a:pt x="274" y="157"/>
                  </a:lnTo>
                  <a:lnTo>
                    <a:pt x="277" y="161"/>
                  </a:lnTo>
                  <a:lnTo>
                    <a:pt x="280" y="166"/>
                  </a:lnTo>
                  <a:lnTo>
                    <a:pt x="282" y="172"/>
                  </a:lnTo>
                  <a:lnTo>
                    <a:pt x="282" y="178"/>
                  </a:lnTo>
                  <a:lnTo>
                    <a:pt x="282" y="184"/>
                  </a:lnTo>
                  <a:lnTo>
                    <a:pt x="280" y="190"/>
                  </a:lnTo>
                  <a:lnTo>
                    <a:pt x="277" y="195"/>
                  </a:lnTo>
                  <a:lnTo>
                    <a:pt x="274" y="200"/>
                  </a:lnTo>
                  <a:lnTo>
                    <a:pt x="269" y="203"/>
                  </a:lnTo>
                  <a:lnTo>
                    <a:pt x="264" y="205"/>
                  </a:lnTo>
                  <a:lnTo>
                    <a:pt x="258" y="208"/>
                  </a:lnTo>
                  <a:lnTo>
                    <a:pt x="252" y="208"/>
                  </a:lnTo>
                  <a:close/>
                  <a:moveTo>
                    <a:pt x="161" y="208"/>
                  </a:moveTo>
                  <a:lnTo>
                    <a:pt x="155" y="208"/>
                  </a:lnTo>
                  <a:lnTo>
                    <a:pt x="150" y="205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36" y="195"/>
                  </a:lnTo>
                  <a:lnTo>
                    <a:pt x="133" y="190"/>
                  </a:lnTo>
                  <a:lnTo>
                    <a:pt x="132" y="184"/>
                  </a:lnTo>
                  <a:lnTo>
                    <a:pt x="131" y="178"/>
                  </a:lnTo>
                  <a:lnTo>
                    <a:pt x="132" y="172"/>
                  </a:lnTo>
                  <a:lnTo>
                    <a:pt x="133" y="166"/>
                  </a:lnTo>
                  <a:lnTo>
                    <a:pt x="136" y="161"/>
                  </a:lnTo>
                  <a:lnTo>
                    <a:pt x="141" y="157"/>
                  </a:lnTo>
                  <a:lnTo>
                    <a:pt x="144" y="153"/>
                  </a:lnTo>
                  <a:lnTo>
                    <a:pt x="150" y="150"/>
                  </a:lnTo>
                  <a:lnTo>
                    <a:pt x="155" y="148"/>
                  </a:lnTo>
                  <a:lnTo>
                    <a:pt x="161" y="147"/>
                  </a:lnTo>
                  <a:lnTo>
                    <a:pt x="168" y="148"/>
                  </a:lnTo>
                  <a:lnTo>
                    <a:pt x="173" y="150"/>
                  </a:lnTo>
                  <a:lnTo>
                    <a:pt x="179" y="153"/>
                  </a:lnTo>
                  <a:lnTo>
                    <a:pt x="182" y="157"/>
                  </a:lnTo>
                  <a:lnTo>
                    <a:pt x="187" y="161"/>
                  </a:lnTo>
                  <a:lnTo>
                    <a:pt x="189" y="166"/>
                  </a:lnTo>
                  <a:lnTo>
                    <a:pt x="191" y="172"/>
                  </a:lnTo>
                  <a:lnTo>
                    <a:pt x="192" y="178"/>
                  </a:lnTo>
                  <a:lnTo>
                    <a:pt x="191" y="184"/>
                  </a:lnTo>
                  <a:lnTo>
                    <a:pt x="189" y="190"/>
                  </a:lnTo>
                  <a:lnTo>
                    <a:pt x="187" y="195"/>
                  </a:lnTo>
                  <a:lnTo>
                    <a:pt x="182" y="200"/>
                  </a:lnTo>
                  <a:lnTo>
                    <a:pt x="179" y="203"/>
                  </a:lnTo>
                  <a:lnTo>
                    <a:pt x="173" y="205"/>
                  </a:lnTo>
                  <a:lnTo>
                    <a:pt x="168" y="208"/>
                  </a:lnTo>
                  <a:lnTo>
                    <a:pt x="161" y="208"/>
                  </a:lnTo>
                  <a:close/>
                  <a:moveTo>
                    <a:pt x="310" y="0"/>
                  </a:moveTo>
                  <a:lnTo>
                    <a:pt x="294" y="1"/>
                  </a:lnTo>
                  <a:lnTo>
                    <a:pt x="280" y="2"/>
                  </a:lnTo>
                  <a:lnTo>
                    <a:pt x="267" y="6"/>
                  </a:lnTo>
                  <a:lnTo>
                    <a:pt x="254" y="10"/>
                  </a:lnTo>
                  <a:lnTo>
                    <a:pt x="241" y="16"/>
                  </a:lnTo>
                  <a:lnTo>
                    <a:pt x="227" y="23"/>
                  </a:lnTo>
                  <a:lnTo>
                    <a:pt x="216" y="32"/>
                  </a:lnTo>
                  <a:lnTo>
                    <a:pt x="205" y="42"/>
                  </a:lnTo>
                  <a:lnTo>
                    <a:pt x="188" y="37"/>
                  </a:lnTo>
                  <a:lnTo>
                    <a:pt x="172" y="32"/>
                  </a:lnTo>
                  <a:lnTo>
                    <a:pt x="156" y="28"/>
                  </a:lnTo>
                  <a:lnTo>
                    <a:pt x="139" y="28"/>
                  </a:lnTo>
                  <a:lnTo>
                    <a:pt x="130" y="28"/>
                  </a:lnTo>
                  <a:lnTo>
                    <a:pt x="119" y="29"/>
                  </a:lnTo>
                  <a:lnTo>
                    <a:pt x="108" y="32"/>
                  </a:lnTo>
                  <a:lnTo>
                    <a:pt x="99" y="35"/>
                  </a:lnTo>
                  <a:lnTo>
                    <a:pt x="89" y="39"/>
                  </a:lnTo>
                  <a:lnTo>
                    <a:pt x="80" y="44"/>
                  </a:lnTo>
                  <a:lnTo>
                    <a:pt x="70" y="48"/>
                  </a:lnTo>
                  <a:lnTo>
                    <a:pt x="62" y="54"/>
                  </a:lnTo>
                  <a:lnTo>
                    <a:pt x="54" y="62"/>
                  </a:lnTo>
                  <a:lnTo>
                    <a:pt x="45" y="69"/>
                  </a:lnTo>
                  <a:lnTo>
                    <a:pt x="38" y="77"/>
                  </a:lnTo>
                  <a:lnTo>
                    <a:pt x="32" y="87"/>
                  </a:lnTo>
                  <a:lnTo>
                    <a:pt x="25" y="95"/>
                  </a:lnTo>
                  <a:lnTo>
                    <a:pt x="20" y="106"/>
                  </a:lnTo>
                  <a:lnTo>
                    <a:pt x="15" y="116"/>
                  </a:lnTo>
                  <a:lnTo>
                    <a:pt x="11" y="127"/>
                  </a:lnTo>
                  <a:lnTo>
                    <a:pt x="5" y="142"/>
                  </a:lnTo>
                  <a:lnTo>
                    <a:pt x="3" y="158"/>
                  </a:lnTo>
                  <a:lnTo>
                    <a:pt x="0" y="172"/>
                  </a:lnTo>
                  <a:lnTo>
                    <a:pt x="0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9" y="188"/>
                  </a:lnTo>
                  <a:lnTo>
                    <a:pt x="31" y="189"/>
                  </a:lnTo>
                  <a:lnTo>
                    <a:pt x="42" y="190"/>
                  </a:lnTo>
                  <a:lnTo>
                    <a:pt x="53" y="192"/>
                  </a:lnTo>
                  <a:lnTo>
                    <a:pt x="62" y="195"/>
                  </a:lnTo>
                  <a:lnTo>
                    <a:pt x="73" y="198"/>
                  </a:lnTo>
                  <a:lnTo>
                    <a:pt x="81" y="202"/>
                  </a:lnTo>
                  <a:lnTo>
                    <a:pt x="89" y="207"/>
                  </a:lnTo>
                  <a:lnTo>
                    <a:pt x="98" y="211"/>
                  </a:lnTo>
                  <a:lnTo>
                    <a:pt x="105" y="217"/>
                  </a:lnTo>
                  <a:lnTo>
                    <a:pt x="111" y="223"/>
                  </a:lnTo>
                  <a:lnTo>
                    <a:pt x="117" y="229"/>
                  </a:lnTo>
                  <a:lnTo>
                    <a:pt x="122" y="236"/>
                  </a:lnTo>
                  <a:lnTo>
                    <a:pt x="126" y="244"/>
                  </a:lnTo>
                  <a:lnTo>
                    <a:pt x="130" y="252"/>
                  </a:lnTo>
                  <a:lnTo>
                    <a:pt x="132" y="260"/>
                  </a:lnTo>
                  <a:lnTo>
                    <a:pt x="135" y="274"/>
                  </a:lnTo>
                  <a:lnTo>
                    <a:pt x="135" y="289"/>
                  </a:lnTo>
                  <a:lnTo>
                    <a:pt x="133" y="304"/>
                  </a:lnTo>
                  <a:lnTo>
                    <a:pt x="130" y="320"/>
                  </a:lnTo>
                  <a:lnTo>
                    <a:pt x="144" y="323"/>
                  </a:lnTo>
                  <a:lnTo>
                    <a:pt x="154" y="324"/>
                  </a:lnTo>
                  <a:lnTo>
                    <a:pt x="161" y="335"/>
                  </a:lnTo>
                  <a:lnTo>
                    <a:pt x="169" y="343"/>
                  </a:lnTo>
                  <a:lnTo>
                    <a:pt x="179" y="352"/>
                  </a:lnTo>
                  <a:lnTo>
                    <a:pt x="188" y="359"/>
                  </a:lnTo>
                  <a:lnTo>
                    <a:pt x="200" y="364"/>
                  </a:lnTo>
                  <a:lnTo>
                    <a:pt x="212" y="367"/>
                  </a:lnTo>
                  <a:lnTo>
                    <a:pt x="224" y="370"/>
                  </a:lnTo>
                  <a:lnTo>
                    <a:pt x="237" y="371"/>
                  </a:lnTo>
                  <a:lnTo>
                    <a:pt x="248" y="370"/>
                  </a:lnTo>
                  <a:lnTo>
                    <a:pt x="260" y="368"/>
                  </a:lnTo>
                  <a:lnTo>
                    <a:pt x="270" y="364"/>
                  </a:lnTo>
                  <a:lnTo>
                    <a:pt x="281" y="359"/>
                  </a:lnTo>
                  <a:lnTo>
                    <a:pt x="292" y="353"/>
                  </a:lnTo>
                  <a:lnTo>
                    <a:pt x="301" y="345"/>
                  </a:lnTo>
                  <a:lnTo>
                    <a:pt x="311" y="336"/>
                  </a:lnTo>
                  <a:lnTo>
                    <a:pt x="319" y="326"/>
                  </a:lnTo>
                  <a:lnTo>
                    <a:pt x="337" y="324"/>
                  </a:lnTo>
                  <a:lnTo>
                    <a:pt x="354" y="322"/>
                  </a:lnTo>
                  <a:lnTo>
                    <a:pt x="369" y="317"/>
                  </a:lnTo>
                  <a:lnTo>
                    <a:pt x="384" y="313"/>
                  </a:lnTo>
                  <a:lnTo>
                    <a:pt x="399" y="305"/>
                  </a:lnTo>
                  <a:lnTo>
                    <a:pt x="412" y="297"/>
                  </a:lnTo>
                  <a:lnTo>
                    <a:pt x="424" y="288"/>
                  </a:lnTo>
                  <a:lnTo>
                    <a:pt x="436" y="277"/>
                  </a:lnTo>
                  <a:lnTo>
                    <a:pt x="445" y="266"/>
                  </a:lnTo>
                  <a:lnTo>
                    <a:pt x="452" y="254"/>
                  </a:lnTo>
                  <a:lnTo>
                    <a:pt x="459" y="241"/>
                  </a:lnTo>
                  <a:lnTo>
                    <a:pt x="465" y="228"/>
                  </a:lnTo>
                  <a:lnTo>
                    <a:pt x="470" y="214"/>
                  </a:lnTo>
                  <a:lnTo>
                    <a:pt x="472" y="200"/>
                  </a:lnTo>
                  <a:lnTo>
                    <a:pt x="475" y="184"/>
                  </a:lnTo>
                  <a:lnTo>
                    <a:pt x="476" y="169"/>
                  </a:lnTo>
                  <a:lnTo>
                    <a:pt x="475" y="153"/>
                  </a:lnTo>
                  <a:lnTo>
                    <a:pt x="472" y="138"/>
                  </a:lnTo>
                  <a:lnTo>
                    <a:pt x="470" y="122"/>
                  </a:lnTo>
                  <a:lnTo>
                    <a:pt x="465" y="108"/>
                  </a:lnTo>
                  <a:lnTo>
                    <a:pt x="458" y="94"/>
                  </a:lnTo>
                  <a:lnTo>
                    <a:pt x="451" y="79"/>
                  </a:lnTo>
                  <a:lnTo>
                    <a:pt x="443" y="66"/>
                  </a:lnTo>
                  <a:lnTo>
                    <a:pt x="433" y="53"/>
                  </a:lnTo>
                  <a:lnTo>
                    <a:pt x="421" y="42"/>
                  </a:lnTo>
                  <a:lnTo>
                    <a:pt x="409" y="32"/>
                  </a:lnTo>
                  <a:lnTo>
                    <a:pt x="396" y="22"/>
                  </a:lnTo>
                  <a:lnTo>
                    <a:pt x="381" y="15"/>
                  </a:lnTo>
                  <a:lnTo>
                    <a:pt x="364" y="8"/>
                  </a:lnTo>
                  <a:lnTo>
                    <a:pt x="348" y="3"/>
                  </a:lnTo>
                  <a:lnTo>
                    <a:pt x="329" y="1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2992"/>
            <p:cNvSpPr/>
            <p:nvPr/>
          </p:nvSpPr>
          <p:spPr bwMode="auto">
            <a:xfrm>
              <a:off x="1460463" y="863600"/>
              <a:ext cx="190500" cy="201613"/>
            </a:xfrm>
            <a:custGeom>
              <a:avLst/>
              <a:gdLst>
                <a:gd name="T0" fmla="*/ 393 w 480"/>
                <a:gd name="T1" fmla="*/ 357 h 507"/>
                <a:gd name="T2" fmla="*/ 312 w 480"/>
                <a:gd name="T3" fmla="*/ 312 h 507"/>
                <a:gd name="T4" fmla="*/ 320 w 480"/>
                <a:gd name="T5" fmla="*/ 267 h 507"/>
                <a:gd name="T6" fmla="*/ 324 w 480"/>
                <a:gd name="T7" fmla="*/ 261 h 507"/>
                <a:gd name="T8" fmla="*/ 329 w 480"/>
                <a:gd name="T9" fmla="*/ 254 h 507"/>
                <a:gd name="T10" fmla="*/ 332 w 480"/>
                <a:gd name="T11" fmla="*/ 244 h 507"/>
                <a:gd name="T12" fmla="*/ 336 w 480"/>
                <a:gd name="T13" fmla="*/ 231 h 507"/>
                <a:gd name="T14" fmla="*/ 338 w 480"/>
                <a:gd name="T15" fmla="*/ 219 h 507"/>
                <a:gd name="T16" fmla="*/ 339 w 480"/>
                <a:gd name="T17" fmla="*/ 203 h 507"/>
                <a:gd name="T18" fmla="*/ 351 w 480"/>
                <a:gd name="T19" fmla="*/ 190 h 507"/>
                <a:gd name="T20" fmla="*/ 354 w 480"/>
                <a:gd name="T21" fmla="*/ 185 h 507"/>
                <a:gd name="T22" fmla="*/ 356 w 480"/>
                <a:gd name="T23" fmla="*/ 179 h 507"/>
                <a:gd name="T24" fmla="*/ 357 w 480"/>
                <a:gd name="T25" fmla="*/ 173 h 507"/>
                <a:gd name="T26" fmla="*/ 358 w 480"/>
                <a:gd name="T27" fmla="*/ 166 h 507"/>
                <a:gd name="T28" fmla="*/ 357 w 480"/>
                <a:gd name="T29" fmla="*/ 149 h 507"/>
                <a:gd name="T30" fmla="*/ 355 w 480"/>
                <a:gd name="T31" fmla="*/ 140 h 507"/>
                <a:gd name="T32" fmla="*/ 350 w 480"/>
                <a:gd name="T33" fmla="*/ 131 h 507"/>
                <a:gd name="T34" fmla="*/ 343 w 480"/>
                <a:gd name="T35" fmla="*/ 125 h 507"/>
                <a:gd name="T36" fmla="*/ 351 w 480"/>
                <a:gd name="T37" fmla="*/ 100 h 507"/>
                <a:gd name="T38" fmla="*/ 354 w 480"/>
                <a:gd name="T39" fmla="*/ 88 h 507"/>
                <a:gd name="T40" fmla="*/ 350 w 480"/>
                <a:gd name="T41" fmla="*/ 48 h 507"/>
                <a:gd name="T42" fmla="*/ 336 w 480"/>
                <a:gd name="T43" fmla="*/ 28 h 507"/>
                <a:gd name="T44" fmla="*/ 305 w 480"/>
                <a:gd name="T45" fmla="*/ 9 h 507"/>
                <a:gd name="T46" fmla="*/ 244 w 480"/>
                <a:gd name="T47" fmla="*/ 0 h 507"/>
                <a:gd name="T48" fmla="*/ 229 w 480"/>
                <a:gd name="T49" fmla="*/ 2 h 507"/>
                <a:gd name="T50" fmla="*/ 215 w 480"/>
                <a:gd name="T51" fmla="*/ 4 h 507"/>
                <a:gd name="T52" fmla="*/ 199 w 480"/>
                <a:gd name="T53" fmla="*/ 9 h 507"/>
                <a:gd name="T54" fmla="*/ 181 w 480"/>
                <a:gd name="T55" fmla="*/ 16 h 507"/>
                <a:gd name="T56" fmla="*/ 157 w 480"/>
                <a:gd name="T57" fmla="*/ 38 h 507"/>
                <a:gd name="T58" fmla="*/ 150 w 480"/>
                <a:gd name="T59" fmla="*/ 44 h 507"/>
                <a:gd name="T60" fmla="*/ 138 w 480"/>
                <a:gd name="T61" fmla="*/ 46 h 507"/>
                <a:gd name="T62" fmla="*/ 131 w 480"/>
                <a:gd name="T63" fmla="*/ 48 h 507"/>
                <a:gd name="T64" fmla="*/ 125 w 480"/>
                <a:gd name="T65" fmla="*/ 53 h 507"/>
                <a:gd name="T66" fmla="*/ 121 w 480"/>
                <a:gd name="T67" fmla="*/ 60 h 507"/>
                <a:gd name="T68" fmla="*/ 118 w 480"/>
                <a:gd name="T69" fmla="*/ 68 h 507"/>
                <a:gd name="T70" fmla="*/ 118 w 480"/>
                <a:gd name="T71" fmla="*/ 77 h 507"/>
                <a:gd name="T72" fmla="*/ 119 w 480"/>
                <a:gd name="T73" fmla="*/ 85 h 507"/>
                <a:gd name="T74" fmla="*/ 121 w 480"/>
                <a:gd name="T75" fmla="*/ 94 h 507"/>
                <a:gd name="T76" fmla="*/ 124 w 480"/>
                <a:gd name="T77" fmla="*/ 103 h 507"/>
                <a:gd name="T78" fmla="*/ 130 w 480"/>
                <a:gd name="T79" fmla="*/ 117 h 507"/>
                <a:gd name="T80" fmla="*/ 126 w 480"/>
                <a:gd name="T81" fmla="*/ 130 h 507"/>
                <a:gd name="T82" fmla="*/ 115 w 480"/>
                <a:gd name="T83" fmla="*/ 155 h 507"/>
                <a:gd name="T84" fmla="*/ 116 w 480"/>
                <a:gd name="T85" fmla="*/ 175 h 507"/>
                <a:gd name="T86" fmla="*/ 119 w 480"/>
                <a:gd name="T87" fmla="*/ 186 h 507"/>
                <a:gd name="T88" fmla="*/ 125 w 480"/>
                <a:gd name="T89" fmla="*/ 194 h 507"/>
                <a:gd name="T90" fmla="*/ 134 w 480"/>
                <a:gd name="T91" fmla="*/ 201 h 507"/>
                <a:gd name="T92" fmla="*/ 138 w 480"/>
                <a:gd name="T93" fmla="*/ 218 h 507"/>
                <a:gd name="T94" fmla="*/ 148 w 480"/>
                <a:gd name="T95" fmla="*/ 250 h 507"/>
                <a:gd name="T96" fmla="*/ 165 w 480"/>
                <a:gd name="T97" fmla="*/ 272 h 507"/>
                <a:gd name="T98" fmla="*/ 168 w 480"/>
                <a:gd name="T99" fmla="*/ 319 h 507"/>
                <a:gd name="T100" fmla="*/ 62 w 480"/>
                <a:gd name="T101" fmla="*/ 370 h 507"/>
                <a:gd name="T102" fmla="*/ 9 w 480"/>
                <a:gd name="T103" fmla="*/ 408 h 507"/>
                <a:gd name="T104" fmla="*/ 0 w 480"/>
                <a:gd name="T105" fmla="*/ 424 h 507"/>
                <a:gd name="T106" fmla="*/ 9 w 480"/>
                <a:gd name="T107" fmla="*/ 506 h 507"/>
                <a:gd name="T108" fmla="*/ 476 w 480"/>
                <a:gd name="T109" fmla="*/ 504 h 507"/>
                <a:gd name="T110" fmla="*/ 480 w 480"/>
                <a:gd name="T111" fmla="*/ 420 h 507"/>
                <a:gd name="T112" fmla="*/ 462 w 480"/>
                <a:gd name="T113" fmla="*/ 399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07">
                  <a:moveTo>
                    <a:pt x="446" y="388"/>
                  </a:moveTo>
                  <a:lnTo>
                    <a:pt x="435" y="380"/>
                  </a:lnTo>
                  <a:lnTo>
                    <a:pt x="418" y="370"/>
                  </a:lnTo>
                  <a:lnTo>
                    <a:pt x="393" y="357"/>
                  </a:lnTo>
                  <a:lnTo>
                    <a:pt x="367" y="344"/>
                  </a:lnTo>
                  <a:lnTo>
                    <a:pt x="339" y="331"/>
                  </a:lnTo>
                  <a:lnTo>
                    <a:pt x="312" y="319"/>
                  </a:lnTo>
                  <a:lnTo>
                    <a:pt x="312" y="312"/>
                  </a:lnTo>
                  <a:lnTo>
                    <a:pt x="312" y="280"/>
                  </a:lnTo>
                  <a:lnTo>
                    <a:pt x="312" y="274"/>
                  </a:lnTo>
                  <a:lnTo>
                    <a:pt x="317" y="272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20" y="266"/>
                  </a:lnTo>
                  <a:lnTo>
                    <a:pt x="323" y="263"/>
                  </a:lnTo>
                  <a:lnTo>
                    <a:pt x="324" y="261"/>
                  </a:lnTo>
                  <a:lnTo>
                    <a:pt x="325" y="260"/>
                  </a:lnTo>
                  <a:lnTo>
                    <a:pt x="325" y="260"/>
                  </a:lnTo>
                  <a:lnTo>
                    <a:pt x="326" y="256"/>
                  </a:lnTo>
                  <a:lnTo>
                    <a:pt x="329" y="254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31" y="248"/>
                  </a:lnTo>
                  <a:lnTo>
                    <a:pt x="332" y="244"/>
                  </a:lnTo>
                  <a:lnTo>
                    <a:pt x="332" y="243"/>
                  </a:lnTo>
                  <a:lnTo>
                    <a:pt x="332" y="243"/>
                  </a:lnTo>
                  <a:lnTo>
                    <a:pt x="335" y="237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7" y="225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9" y="209"/>
                  </a:lnTo>
                  <a:lnTo>
                    <a:pt x="339" y="203"/>
                  </a:lnTo>
                  <a:lnTo>
                    <a:pt x="345" y="197"/>
                  </a:lnTo>
                  <a:lnTo>
                    <a:pt x="351" y="191"/>
                  </a:lnTo>
                  <a:lnTo>
                    <a:pt x="351" y="190"/>
                  </a:lnTo>
                  <a:lnTo>
                    <a:pt x="351" y="190"/>
                  </a:lnTo>
                  <a:lnTo>
                    <a:pt x="352" y="187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5" y="182"/>
                  </a:lnTo>
                  <a:lnTo>
                    <a:pt x="355" y="180"/>
                  </a:lnTo>
                  <a:lnTo>
                    <a:pt x="356" y="179"/>
                  </a:lnTo>
                  <a:lnTo>
                    <a:pt x="356" y="179"/>
                  </a:lnTo>
                  <a:lnTo>
                    <a:pt x="356" y="176"/>
                  </a:lnTo>
                  <a:lnTo>
                    <a:pt x="357" y="174"/>
                  </a:lnTo>
                  <a:lnTo>
                    <a:pt x="357" y="173"/>
                  </a:lnTo>
                  <a:lnTo>
                    <a:pt x="357" y="173"/>
                  </a:lnTo>
                  <a:lnTo>
                    <a:pt x="357" y="169"/>
                  </a:lnTo>
                  <a:lnTo>
                    <a:pt x="358" y="167"/>
                  </a:lnTo>
                  <a:lnTo>
                    <a:pt x="358" y="167"/>
                  </a:lnTo>
                  <a:lnTo>
                    <a:pt x="358" y="166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58" y="155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8"/>
                  </a:lnTo>
                  <a:lnTo>
                    <a:pt x="356" y="143"/>
                  </a:lnTo>
                  <a:lnTo>
                    <a:pt x="355" y="140"/>
                  </a:lnTo>
                  <a:lnTo>
                    <a:pt x="355" y="138"/>
                  </a:lnTo>
                  <a:lnTo>
                    <a:pt x="354" y="138"/>
                  </a:lnTo>
                  <a:lnTo>
                    <a:pt x="352" y="135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49" y="131"/>
                  </a:lnTo>
                  <a:lnTo>
                    <a:pt x="347" y="128"/>
                  </a:lnTo>
                  <a:lnTo>
                    <a:pt x="343" y="125"/>
                  </a:lnTo>
                  <a:lnTo>
                    <a:pt x="344" y="122"/>
                  </a:lnTo>
                  <a:lnTo>
                    <a:pt x="347" y="117"/>
                  </a:lnTo>
                  <a:lnTo>
                    <a:pt x="349" y="109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4" y="88"/>
                  </a:lnTo>
                  <a:lnTo>
                    <a:pt x="355" y="77"/>
                  </a:lnTo>
                  <a:lnTo>
                    <a:pt x="355" y="66"/>
                  </a:lnTo>
                  <a:lnTo>
                    <a:pt x="352" y="54"/>
                  </a:lnTo>
                  <a:lnTo>
                    <a:pt x="350" y="48"/>
                  </a:lnTo>
                  <a:lnTo>
                    <a:pt x="348" y="43"/>
                  </a:lnTo>
                  <a:lnTo>
                    <a:pt x="344" y="37"/>
                  </a:lnTo>
                  <a:lnTo>
                    <a:pt x="341" y="33"/>
                  </a:lnTo>
                  <a:lnTo>
                    <a:pt x="336" y="28"/>
                  </a:lnTo>
                  <a:lnTo>
                    <a:pt x="331" y="23"/>
                  </a:lnTo>
                  <a:lnTo>
                    <a:pt x="325" y="18"/>
                  </a:lnTo>
                  <a:lnTo>
                    <a:pt x="319" y="15"/>
                  </a:lnTo>
                  <a:lnTo>
                    <a:pt x="305" y="9"/>
                  </a:lnTo>
                  <a:lnTo>
                    <a:pt x="288" y="4"/>
                  </a:lnTo>
                  <a:lnTo>
                    <a:pt x="270" y="2"/>
                  </a:lnTo>
                  <a:lnTo>
                    <a:pt x="251" y="0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2" y="2"/>
                  </a:lnTo>
                  <a:lnTo>
                    <a:pt x="229" y="2"/>
                  </a:lnTo>
                  <a:lnTo>
                    <a:pt x="224" y="3"/>
                  </a:lnTo>
                  <a:lnTo>
                    <a:pt x="220" y="3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2" y="5"/>
                  </a:lnTo>
                  <a:lnTo>
                    <a:pt x="207" y="6"/>
                  </a:lnTo>
                  <a:lnTo>
                    <a:pt x="204" y="8"/>
                  </a:lnTo>
                  <a:lnTo>
                    <a:pt x="199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92" y="11"/>
                  </a:lnTo>
                  <a:lnTo>
                    <a:pt x="181" y="16"/>
                  </a:lnTo>
                  <a:lnTo>
                    <a:pt x="172" y="23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42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3" y="44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5" y="47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0" y="49"/>
                  </a:lnTo>
                  <a:lnTo>
                    <a:pt x="128" y="50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4" y="55"/>
                  </a:lnTo>
                  <a:lnTo>
                    <a:pt x="123" y="56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9" y="66"/>
                  </a:lnTo>
                  <a:lnTo>
                    <a:pt x="118" y="68"/>
                  </a:lnTo>
                  <a:lnTo>
                    <a:pt x="118" y="71"/>
                  </a:lnTo>
                  <a:lnTo>
                    <a:pt x="118" y="73"/>
                  </a:lnTo>
                  <a:lnTo>
                    <a:pt x="118" y="75"/>
                  </a:lnTo>
                  <a:lnTo>
                    <a:pt x="118" y="77"/>
                  </a:lnTo>
                  <a:lnTo>
                    <a:pt x="118" y="79"/>
                  </a:lnTo>
                  <a:lnTo>
                    <a:pt x="118" y="81"/>
                  </a:lnTo>
                  <a:lnTo>
                    <a:pt x="118" y="84"/>
                  </a:lnTo>
                  <a:lnTo>
                    <a:pt x="119" y="85"/>
                  </a:lnTo>
                  <a:lnTo>
                    <a:pt x="119" y="87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2" y="96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4" y="103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6" y="109"/>
                  </a:lnTo>
                  <a:lnTo>
                    <a:pt x="130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4" y="125"/>
                  </a:lnTo>
                  <a:lnTo>
                    <a:pt x="126" y="130"/>
                  </a:lnTo>
                  <a:lnTo>
                    <a:pt x="122" y="136"/>
                  </a:lnTo>
                  <a:lnTo>
                    <a:pt x="118" y="142"/>
                  </a:lnTo>
                  <a:lnTo>
                    <a:pt x="116" y="148"/>
                  </a:lnTo>
                  <a:lnTo>
                    <a:pt x="115" y="155"/>
                  </a:lnTo>
                  <a:lnTo>
                    <a:pt x="115" y="163"/>
                  </a:lnTo>
                  <a:lnTo>
                    <a:pt x="115" y="168"/>
                  </a:lnTo>
                  <a:lnTo>
                    <a:pt x="116" y="174"/>
                  </a:lnTo>
                  <a:lnTo>
                    <a:pt x="116" y="175"/>
                  </a:lnTo>
                  <a:lnTo>
                    <a:pt x="116" y="175"/>
                  </a:lnTo>
                  <a:lnTo>
                    <a:pt x="117" y="180"/>
                  </a:lnTo>
                  <a:lnTo>
                    <a:pt x="118" y="185"/>
                  </a:lnTo>
                  <a:lnTo>
                    <a:pt x="119" y="186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24" y="193"/>
                  </a:lnTo>
                  <a:lnTo>
                    <a:pt x="125" y="194"/>
                  </a:lnTo>
                  <a:lnTo>
                    <a:pt x="126" y="195"/>
                  </a:lnTo>
                  <a:lnTo>
                    <a:pt x="128" y="198"/>
                  </a:lnTo>
                  <a:lnTo>
                    <a:pt x="130" y="199"/>
                  </a:lnTo>
                  <a:lnTo>
                    <a:pt x="134" y="201"/>
                  </a:lnTo>
                  <a:lnTo>
                    <a:pt x="137" y="203"/>
                  </a:lnTo>
                  <a:lnTo>
                    <a:pt x="137" y="210"/>
                  </a:lnTo>
                  <a:lnTo>
                    <a:pt x="138" y="216"/>
                  </a:lnTo>
                  <a:lnTo>
                    <a:pt x="138" y="218"/>
                  </a:lnTo>
                  <a:lnTo>
                    <a:pt x="138" y="220"/>
                  </a:lnTo>
                  <a:lnTo>
                    <a:pt x="141" y="231"/>
                  </a:lnTo>
                  <a:lnTo>
                    <a:pt x="144" y="242"/>
                  </a:lnTo>
                  <a:lnTo>
                    <a:pt x="148" y="250"/>
                  </a:lnTo>
                  <a:lnTo>
                    <a:pt x="153" y="257"/>
                  </a:lnTo>
                  <a:lnTo>
                    <a:pt x="156" y="263"/>
                  </a:lnTo>
                  <a:lnTo>
                    <a:pt x="161" y="268"/>
                  </a:lnTo>
                  <a:lnTo>
                    <a:pt x="165" y="272"/>
                  </a:lnTo>
                  <a:lnTo>
                    <a:pt x="168" y="275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19"/>
                  </a:lnTo>
                  <a:lnTo>
                    <a:pt x="142" y="331"/>
                  </a:lnTo>
                  <a:lnTo>
                    <a:pt x="115" y="344"/>
                  </a:lnTo>
                  <a:lnTo>
                    <a:pt x="87" y="357"/>
                  </a:lnTo>
                  <a:lnTo>
                    <a:pt x="62" y="370"/>
                  </a:lnTo>
                  <a:lnTo>
                    <a:pt x="47" y="380"/>
                  </a:lnTo>
                  <a:lnTo>
                    <a:pt x="34" y="388"/>
                  </a:lnTo>
                  <a:lnTo>
                    <a:pt x="19" y="399"/>
                  </a:lnTo>
                  <a:lnTo>
                    <a:pt x="9" y="408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2" y="420"/>
                  </a:lnTo>
                  <a:lnTo>
                    <a:pt x="0" y="424"/>
                  </a:lnTo>
                  <a:lnTo>
                    <a:pt x="0" y="495"/>
                  </a:lnTo>
                  <a:lnTo>
                    <a:pt x="2" y="500"/>
                  </a:lnTo>
                  <a:lnTo>
                    <a:pt x="4" y="504"/>
                  </a:lnTo>
                  <a:lnTo>
                    <a:pt x="9" y="506"/>
                  </a:lnTo>
                  <a:lnTo>
                    <a:pt x="13" y="507"/>
                  </a:lnTo>
                  <a:lnTo>
                    <a:pt x="468" y="507"/>
                  </a:lnTo>
                  <a:lnTo>
                    <a:pt x="473" y="506"/>
                  </a:lnTo>
                  <a:lnTo>
                    <a:pt x="476" y="504"/>
                  </a:lnTo>
                  <a:lnTo>
                    <a:pt x="479" y="500"/>
                  </a:lnTo>
                  <a:lnTo>
                    <a:pt x="480" y="495"/>
                  </a:lnTo>
                  <a:lnTo>
                    <a:pt x="480" y="424"/>
                  </a:lnTo>
                  <a:lnTo>
                    <a:pt x="480" y="420"/>
                  </a:lnTo>
                  <a:lnTo>
                    <a:pt x="479" y="417"/>
                  </a:lnTo>
                  <a:lnTo>
                    <a:pt x="475" y="413"/>
                  </a:lnTo>
                  <a:lnTo>
                    <a:pt x="471" y="408"/>
                  </a:lnTo>
                  <a:lnTo>
                    <a:pt x="462" y="399"/>
                  </a:lnTo>
                  <a:lnTo>
                    <a:pt x="44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37" name="TextBox 47"/>
          <p:cNvSpPr txBox="1"/>
          <p:nvPr/>
        </p:nvSpPr>
        <p:spPr>
          <a:xfrm>
            <a:off x="5121933" y="3583645"/>
            <a:ext cx="1948134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Es0ZFlFNik6939OAyqUIfg"/>
</p:tagLst>
</file>

<file path=ppt/tags/tag2.xml><?xml version="1.0" encoding="utf-8"?>
<p:tagLst xmlns:p="http://schemas.openxmlformats.org/presentationml/2006/main">
  <p:tag name="THINKCELLSHAPEDONOTDELETE" val="pEs0ZFlFNik6939OAyqUIfg"/>
</p:tagLst>
</file>

<file path=ppt/tags/tag3.xml><?xml version="1.0" encoding="utf-8"?>
<p:tagLst xmlns:p="http://schemas.openxmlformats.org/presentationml/2006/main">
  <p:tag name="THINKCELLSHAPEDONOTDELETE" val="pEs0ZFlFNik6939OAyqUIfg"/>
</p:tagLst>
</file>

<file path=ppt/tags/tag4.xml><?xml version="1.0" encoding="utf-8"?>
<p:tagLst xmlns:p="http://schemas.openxmlformats.org/presentationml/2006/main">
  <p:tag name="THINKCELLSHAPEDONOTDELETE" val="pEs0ZFlFNik6939OAyqUIfg"/>
</p:tagLst>
</file>

<file path=ppt/tags/tag5.xml><?xml version="1.0" encoding="utf-8"?>
<p:tagLst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97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1F879D"/>
      </a:accent1>
      <a:accent2>
        <a:srgbClr val="17375E"/>
      </a:accent2>
      <a:accent3>
        <a:srgbClr val="BFBFBF"/>
      </a:accent3>
      <a:accent4>
        <a:srgbClr val="1F879D"/>
      </a:accent4>
      <a:accent5>
        <a:srgbClr val="17375E"/>
      </a:accent5>
      <a:accent6>
        <a:srgbClr val="BFBFBF"/>
      </a:accent6>
      <a:hlink>
        <a:srgbClr val="0000FF"/>
      </a:hlink>
      <a:folHlink>
        <a:srgbClr val="800080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929</Words>
  <Application>WPS Presentation</Application>
  <PresentationFormat>Widescreen</PresentationFormat>
  <Paragraphs>515</Paragraphs>
  <Slides>23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9" baseType="lpstr">
      <vt:lpstr>Arial</vt:lpstr>
      <vt:lpstr>SimSun</vt:lpstr>
      <vt:lpstr>Wingdings</vt:lpstr>
      <vt:lpstr>Ubuntu</vt:lpstr>
      <vt:lpstr>Segoe UI Light</vt:lpstr>
      <vt:lpstr>FreeSans</vt:lpstr>
      <vt:lpstr>Century Gothic</vt:lpstr>
      <vt:lpstr>Gubbi</vt:lpstr>
      <vt:lpstr>DejaVu Sans</vt:lpstr>
      <vt:lpstr>微软雅黑</vt:lpstr>
      <vt:lpstr>Droid Sans Fallback</vt:lpstr>
      <vt:lpstr/>
      <vt:lpstr>Arial Unicode MS</vt:lpstr>
      <vt:lpstr>Calibri</vt:lpstr>
      <vt:lpstr>OpenSymbol</vt:lpstr>
      <vt:lpstr>Office Them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helena</cp:lastModifiedBy>
  <cp:revision>162</cp:revision>
  <dcterms:created xsi:type="dcterms:W3CDTF">2018-12-29T01:42:37Z</dcterms:created>
  <dcterms:modified xsi:type="dcterms:W3CDTF">2018-12-29T01:4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0.1.0.6757</vt:lpwstr>
  </property>
</Properties>
</file>